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0"/>
  </p:notesMasterIdLst>
  <p:sldIdLst>
    <p:sldId id="256" r:id="rId2"/>
    <p:sldId id="558" r:id="rId3"/>
    <p:sldId id="662" r:id="rId4"/>
    <p:sldId id="258" r:id="rId5"/>
    <p:sldId id="257" r:id="rId6"/>
    <p:sldId id="1634" r:id="rId7"/>
    <p:sldId id="259" r:id="rId8"/>
    <p:sldId id="267" r:id="rId9"/>
    <p:sldId id="268" r:id="rId10"/>
    <p:sldId id="269" r:id="rId11"/>
    <p:sldId id="270" r:id="rId12"/>
    <p:sldId id="271" r:id="rId13"/>
    <p:sldId id="272" r:id="rId14"/>
    <p:sldId id="273" r:id="rId15"/>
    <p:sldId id="274" r:id="rId16"/>
    <p:sldId id="1626" r:id="rId17"/>
    <p:sldId id="1074" r:id="rId18"/>
    <p:sldId id="275" r:id="rId19"/>
  </p:sldIdLst>
  <p:sldSz cx="12192000" cy="6858000"/>
  <p:notesSz cx="12192000" cy="6858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8" d="100"/>
          <a:sy n="68" d="100"/>
        </p:scale>
        <p:origin x="792" y="60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70A724-62F7-4761-8054-6E9FFA977BE3}" type="datetimeFigureOut">
              <a:rPr lang="ru-RU" smtClean="0"/>
              <a:t>15.11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626650-D896-4755-89EF-37F21A63EA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5068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80914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6D6E71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6D6E71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6D6E71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0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6D6E71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0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83906052-BB93-4A9D-83D9-844459518E4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F88B0A4A-81C2-4AF4-8CDF-D8E3285994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Copyright" hidden="1">
            <a:extLst>
              <a:ext uri="{FF2B5EF4-FFF2-40B4-BE49-F238E27FC236}">
                <a16:creationId xmlns:a16="http://schemas.microsoft.com/office/drawing/2014/main" id="{1858C75B-F07A-482D-9831-0E1B64875A66}"/>
              </a:ext>
            </a:extLst>
          </p:cNvPr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reserved.</a:t>
            </a:r>
          </a:p>
        </p:txBody>
      </p:sp>
      <p:sp>
        <p:nvSpPr>
          <p:cNvPr id="15" name="FooterSimple" hidden="1">
            <a:extLst>
              <a:ext uri="{FF2B5EF4-FFF2-40B4-BE49-F238E27FC236}">
                <a16:creationId xmlns:a16="http://schemas.microsoft.com/office/drawing/2014/main" id="{A721DD66-78CF-4C71-9C53-DDE41B927AE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069411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31_Обзор проекта маркировки_Добродеев ВГТРК_v1.pptx</a:t>
            </a:r>
          </a:p>
        </p:txBody>
      </p:sp>
    </p:spTree>
    <p:extLst>
      <p:ext uri="{BB962C8B-B14F-4D97-AF65-F5344CB8AC3E}">
        <p14:creationId xmlns:p14="http://schemas.microsoft.com/office/powerpoint/2010/main" val="3559933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638301-4228-417A-8B0D-124E21BC33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4722BB13-E1BC-4490-AE35-9AF53511A7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57F53AF-89A4-4268-BA87-2C66EC13B2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FCF3E-37BA-48E0-9C1B-6498E0093FD5}" type="datetimeFigureOut">
              <a:rPr lang="ru-RU" smtClean="0"/>
              <a:t>15.11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302E80D-68A8-492A-9E1C-A42EA4847D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B78144C-D09B-4CC1-8DB2-738E51C9F1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83329A-BBE7-4CC1-8F40-21CFF2446A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65635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7999"/>
                </a:lnTo>
                <a:lnTo>
                  <a:pt x="12192000" y="6857999"/>
                </a:lnTo>
                <a:lnTo>
                  <a:pt x="1219200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858229" y="420115"/>
            <a:ext cx="8475540" cy="7569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6D6E71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891903" y="3096259"/>
            <a:ext cx="7660640" cy="31038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rgbClr val="6D6E71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nalog.gov.ru/" TargetMode="Externa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3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3" Type="http://schemas.openxmlformats.org/officeDocument/2006/relationships/tags" Target="../tags/tag7.xml"/><Relationship Id="rId7" Type="http://schemas.openxmlformats.org/officeDocument/2006/relationships/image" Target="../media/image60.emf"/><Relationship Id="rId12" Type="http://schemas.openxmlformats.org/officeDocument/2006/relationships/image" Target="../media/image65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64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63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6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emf"/><Relationship Id="rId13" Type="http://schemas.openxmlformats.org/officeDocument/2006/relationships/image" Target="../media/image73.emf"/><Relationship Id="rId3" Type="http://schemas.openxmlformats.org/officeDocument/2006/relationships/hyperlink" Target="https://www.youtube.com/channel/UCkEJSvm2kK7Fc8nznr-oVlQ" TargetMode="External"/><Relationship Id="rId7" Type="http://schemas.openxmlformats.org/officeDocument/2006/relationships/image" Target="../media/image67.emf"/><Relationship Id="rId12" Type="http://schemas.openxmlformats.org/officeDocument/2006/relationships/image" Target="../media/image72.emf"/><Relationship Id="rId2" Type="http://schemas.openxmlformats.org/officeDocument/2006/relationships/hyperlink" Target="https://t.me/crptbreaking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facebook.com/crpt.ru/" TargetMode="External"/><Relationship Id="rId11" Type="http://schemas.openxmlformats.org/officeDocument/2006/relationships/image" Target="../media/image71.emf"/><Relationship Id="rId5" Type="http://schemas.openxmlformats.org/officeDocument/2006/relationships/hyperlink" Target="https://vk.com/crptec" TargetMode="External"/><Relationship Id="rId10" Type="http://schemas.openxmlformats.org/officeDocument/2006/relationships/image" Target="../media/image70.emf"/><Relationship Id="rId4" Type="http://schemas.openxmlformats.org/officeDocument/2006/relationships/hyperlink" Target="mailto:support@crpt.ru" TargetMode="External"/><Relationship Id="rId9" Type="http://schemas.openxmlformats.org/officeDocument/2006/relationships/image" Target="../media/image69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4.jp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17" Type="http://schemas.openxmlformats.org/officeDocument/2006/relationships/image" Target="../media/image13.png"/><Relationship Id="rId2" Type="http://schemas.openxmlformats.org/officeDocument/2006/relationships/tags" Target="../tags/tag4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11.png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6.png"/><Relationship Id="rId14" Type="http://schemas.openxmlformats.org/officeDocument/2006/relationships/hyperlink" Target="https://&#1095;&#1077;&#1089;&#1090;&#1085;&#1099;&#1081;&#1079;&#1085;&#1072;&#1082;.&#1088;&#1092;/upload/%D0%9F%D0%BE%D1%81%D1%82%D0%B0%D0%BD%D0%BE%D0%B2%D0%BB%D0%B5%D0%BD%D0%B8%D0%B5%20%D0%BE%D1%82%202%20%D0%BD%D0%BE%D1%8F%D0%B1%D1%80%D1%8F%202020%20%D0%B3%D0%BE%D0%B4%D0%B0%20%E2%84%961779.pdf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jpg"/><Relationship Id="rId4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12183110" cy="6858000"/>
            <a:chOff x="0" y="0"/>
            <a:chExt cx="12183110" cy="685800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039704" y="0"/>
              <a:ext cx="6143260" cy="6857999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6096000" cy="6858000"/>
            </a:xfrm>
            <a:custGeom>
              <a:avLst/>
              <a:gdLst/>
              <a:ahLst/>
              <a:cxnLst/>
              <a:rect l="l" t="t" r="r" b="b"/>
              <a:pathLst>
                <a:path w="6096000" h="6858000">
                  <a:moveTo>
                    <a:pt x="0" y="0"/>
                  </a:moveTo>
                  <a:lnTo>
                    <a:pt x="6095998" y="0"/>
                  </a:lnTo>
                  <a:lnTo>
                    <a:pt x="609599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D6E7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19200" y="5396462"/>
              <a:ext cx="3920995" cy="733562"/>
            </a:xfrm>
            <a:prstGeom prst="rect">
              <a:avLst/>
            </a:prstGeom>
          </p:spPr>
        </p:pic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806500" y="1581403"/>
            <a:ext cx="4231640" cy="11258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 dirty="0">
                <a:solidFill>
                  <a:srgbClr val="FFFFFF"/>
                </a:solidFill>
              </a:rPr>
              <a:t>Подготовка</a:t>
            </a:r>
            <a:r>
              <a:rPr spc="-25" dirty="0">
                <a:solidFill>
                  <a:srgbClr val="FFFFFF"/>
                </a:solidFill>
              </a:rPr>
              <a:t> </a:t>
            </a:r>
            <a:r>
              <a:rPr spc="-10" dirty="0">
                <a:solidFill>
                  <a:srgbClr val="FFFFFF"/>
                </a:solidFill>
              </a:rPr>
              <a:t>розницы</a:t>
            </a:r>
          </a:p>
          <a:p>
            <a:pPr marL="12700" marR="5080">
              <a:lnSpc>
                <a:spcPct val="100000"/>
              </a:lnSpc>
              <a:spcBef>
                <a:spcPts val="25"/>
              </a:spcBef>
            </a:pPr>
            <a:r>
              <a:rPr dirty="0">
                <a:solidFill>
                  <a:srgbClr val="FFFFFF"/>
                </a:solidFill>
              </a:rPr>
              <a:t>к </a:t>
            </a:r>
            <a:r>
              <a:rPr spc="-10" dirty="0">
                <a:solidFill>
                  <a:srgbClr val="FFFFFF"/>
                </a:solidFill>
              </a:rPr>
              <a:t>выбытию </a:t>
            </a:r>
            <a:r>
              <a:rPr spc="-10" dirty="0" err="1">
                <a:solidFill>
                  <a:srgbClr val="FFFFFF"/>
                </a:solidFill>
              </a:rPr>
              <a:t>маркированной</a:t>
            </a:r>
            <a:r>
              <a:rPr spc="-10" dirty="0">
                <a:solidFill>
                  <a:srgbClr val="FFFFFF"/>
                </a:solidFill>
              </a:rPr>
              <a:t> </a:t>
            </a:r>
            <a:r>
              <a:rPr spc="-20" dirty="0">
                <a:solidFill>
                  <a:srgbClr val="FFFFFF"/>
                </a:solidFill>
              </a:rPr>
              <a:t> </a:t>
            </a:r>
            <a:r>
              <a:rPr spc="-10" dirty="0">
                <a:solidFill>
                  <a:srgbClr val="FFFFFF"/>
                </a:solidFill>
              </a:rPr>
              <a:t>продукции</a:t>
            </a:r>
          </a:p>
        </p:txBody>
      </p:sp>
      <p:sp>
        <p:nvSpPr>
          <p:cNvPr id="7" name="object 7"/>
          <p:cNvSpPr/>
          <p:nvPr/>
        </p:nvSpPr>
        <p:spPr>
          <a:xfrm>
            <a:off x="819201" y="2899437"/>
            <a:ext cx="4096385" cy="0"/>
          </a:xfrm>
          <a:custGeom>
            <a:avLst/>
            <a:gdLst/>
            <a:ahLst/>
            <a:cxnLst/>
            <a:rect l="l" t="t" r="r" b="b"/>
            <a:pathLst>
              <a:path w="4096385">
                <a:moveTo>
                  <a:pt x="4096288" y="0"/>
                </a:moveTo>
                <a:lnTo>
                  <a:pt x="0" y="1"/>
                </a:lnTo>
              </a:path>
            </a:pathLst>
          </a:custGeom>
          <a:ln w="41275">
            <a:solidFill>
              <a:srgbClr val="F6F52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81226" y="1814730"/>
            <a:ext cx="2880360" cy="1142365"/>
          </a:xfrm>
          <a:custGeom>
            <a:avLst/>
            <a:gdLst/>
            <a:ahLst/>
            <a:cxnLst/>
            <a:rect l="l" t="t" r="r" b="b"/>
            <a:pathLst>
              <a:path w="2880360" h="1142364">
                <a:moveTo>
                  <a:pt x="0" y="107187"/>
                </a:moveTo>
                <a:lnTo>
                  <a:pt x="8423" y="65465"/>
                </a:lnTo>
                <a:lnTo>
                  <a:pt x="31394" y="31394"/>
                </a:lnTo>
                <a:lnTo>
                  <a:pt x="65465" y="8423"/>
                </a:lnTo>
                <a:lnTo>
                  <a:pt x="107187" y="0"/>
                </a:lnTo>
                <a:lnTo>
                  <a:pt x="2772813" y="0"/>
                </a:lnTo>
                <a:lnTo>
                  <a:pt x="2814535" y="8423"/>
                </a:lnTo>
                <a:lnTo>
                  <a:pt x="2848605" y="31394"/>
                </a:lnTo>
                <a:lnTo>
                  <a:pt x="2871576" y="65465"/>
                </a:lnTo>
                <a:lnTo>
                  <a:pt x="2880000" y="107187"/>
                </a:lnTo>
                <a:lnTo>
                  <a:pt x="2880000" y="1034694"/>
                </a:lnTo>
                <a:lnTo>
                  <a:pt x="2871576" y="1076416"/>
                </a:lnTo>
                <a:lnTo>
                  <a:pt x="2848605" y="1110487"/>
                </a:lnTo>
                <a:lnTo>
                  <a:pt x="2814535" y="1133458"/>
                </a:lnTo>
                <a:lnTo>
                  <a:pt x="2772813" y="1141882"/>
                </a:lnTo>
                <a:lnTo>
                  <a:pt x="107187" y="1141882"/>
                </a:lnTo>
                <a:lnTo>
                  <a:pt x="65465" y="1133458"/>
                </a:lnTo>
                <a:lnTo>
                  <a:pt x="31394" y="1110487"/>
                </a:lnTo>
                <a:lnTo>
                  <a:pt x="8423" y="1076416"/>
                </a:lnTo>
                <a:lnTo>
                  <a:pt x="0" y="1034694"/>
                </a:lnTo>
                <a:lnTo>
                  <a:pt x="0" y="107187"/>
                </a:lnTo>
                <a:close/>
              </a:path>
            </a:pathLst>
          </a:custGeom>
          <a:ln w="1270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043300" y="2052828"/>
            <a:ext cx="2355850" cy="65976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marR="5080" algn="ctr">
              <a:lnSpc>
                <a:spcPct val="98600"/>
              </a:lnSpc>
              <a:spcBef>
                <a:spcPts val="120"/>
              </a:spcBef>
            </a:pP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Модель</a:t>
            </a:r>
            <a:r>
              <a:rPr sz="1400" b="1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кассы</a:t>
            </a:r>
            <a:r>
              <a:rPr sz="14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включена</a:t>
            </a:r>
            <a:r>
              <a:rPr sz="14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в </a:t>
            </a:r>
            <a:r>
              <a:rPr sz="1400" b="1" spc="-37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реестр ККТ с </a:t>
            </a: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поддержкой 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 ФФД </a:t>
            </a: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1.2</a:t>
            </a:r>
            <a:endParaRPr sz="1400">
              <a:latin typeface="Segoe UI"/>
              <a:cs typeface="Segoe UI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578500" y="1813483"/>
            <a:ext cx="11012170" cy="1784350"/>
            <a:chOff x="578500" y="1813483"/>
            <a:chExt cx="11012170" cy="1784350"/>
          </a:xfrm>
        </p:grpSpPr>
        <p:sp>
          <p:nvSpPr>
            <p:cNvPr id="5" name="object 5"/>
            <p:cNvSpPr/>
            <p:nvPr/>
          </p:nvSpPr>
          <p:spPr>
            <a:xfrm>
              <a:off x="2221226" y="2954947"/>
              <a:ext cx="0" cy="262255"/>
            </a:xfrm>
            <a:custGeom>
              <a:avLst/>
              <a:gdLst/>
              <a:ahLst/>
              <a:cxnLst/>
              <a:rect l="l" t="t" r="r" b="b"/>
              <a:pathLst>
                <a:path h="262255">
                  <a:moveTo>
                    <a:pt x="0" y="0"/>
                  </a:moveTo>
                  <a:lnTo>
                    <a:pt x="1" y="261676"/>
                  </a:lnTo>
                </a:path>
              </a:pathLst>
            </a:custGeom>
            <a:ln w="25400">
              <a:solidFill>
                <a:srgbClr val="7F7F7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578500" y="3379740"/>
              <a:ext cx="11012170" cy="76200"/>
            </a:xfrm>
            <a:custGeom>
              <a:avLst/>
              <a:gdLst/>
              <a:ahLst/>
              <a:cxnLst/>
              <a:rect l="l" t="t" r="r" b="b"/>
              <a:pathLst>
                <a:path w="11012170" h="76200">
                  <a:moveTo>
                    <a:pt x="25400" y="25398"/>
                  </a:moveTo>
                  <a:lnTo>
                    <a:pt x="0" y="25398"/>
                  </a:lnTo>
                  <a:lnTo>
                    <a:pt x="0" y="50798"/>
                  </a:lnTo>
                  <a:lnTo>
                    <a:pt x="25400" y="50798"/>
                  </a:lnTo>
                  <a:lnTo>
                    <a:pt x="25400" y="25398"/>
                  </a:lnTo>
                  <a:close/>
                </a:path>
                <a:path w="11012170" h="76200">
                  <a:moveTo>
                    <a:pt x="76200" y="25398"/>
                  </a:moveTo>
                  <a:lnTo>
                    <a:pt x="50800" y="25398"/>
                  </a:lnTo>
                  <a:lnTo>
                    <a:pt x="50800" y="50798"/>
                  </a:lnTo>
                  <a:lnTo>
                    <a:pt x="76200" y="50798"/>
                  </a:lnTo>
                  <a:lnTo>
                    <a:pt x="76200" y="25398"/>
                  </a:lnTo>
                  <a:close/>
                </a:path>
                <a:path w="11012170" h="76200">
                  <a:moveTo>
                    <a:pt x="127000" y="25398"/>
                  </a:moveTo>
                  <a:lnTo>
                    <a:pt x="101600" y="25398"/>
                  </a:lnTo>
                  <a:lnTo>
                    <a:pt x="101600" y="50798"/>
                  </a:lnTo>
                  <a:lnTo>
                    <a:pt x="127000" y="50798"/>
                  </a:lnTo>
                  <a:lnTo>
                    <a:pt x="127000" y="25398"/>
                  </a:lnTo>
                  <a:close/>
                </a:path>
                <a:path w="11012170" h="76200">
                  <a:moveTo>
                    <a:pt x="177800" y="25398"/>
                  </a:moveTo>
                  <a:lnTo>
                    <a:pt x="152400" y="25398"/>
                  </a:lnTo>
                  <a:lnTo>
                    <a:pt x="152400" y="50798"/>
                  </a:lnTo>
                  <a:lnTo>
                    <a:pt x="177800" y="50798"/>
                  </a:lnTo>
                  <a:lnTo>
                    <a:pt x="177800" y="25398"/>
                  </a:lnTo>
                  <a:close/>
                </a:path>
                <a:path w="11012170" h="76200">
                  <a:moveTo>
                    <a:pt x="228600" y="25398"/>
                  </a:moveTo>
                  <a:lnTo>
                    <a:pt x="203200" y="25398"/>
                  </a:lnTo>
                  <a:lnTo>
                    <a:pt x="203200" y="50798"/>
                  </a:lnTo>
                  <a:lnTo>
                    <a:pt x="228600" y="50798"/>
                  </a:lnTo>
                  <a:lnTo>
                    <a:pt x="228600" y="25398"/>
                  </a:lnTo>
                  <a:close/>
                </a:path>
                <a:path w="11012170" h="76200">
                  <a:moveTo>
                    <a:pt x="279400" y="25398"/>
                  </a:moveTo>
                  <a:lnTo>
                    <a:pt x="254000" y="25398"/>
                  </a:lnTo>
                  <a:lnTo>
                    <a:pt x="254000" y="50798"/>
                  </a:lnTo>
                  <a:lnTo>
                    <a:pt x="279400" y="50798"/>
                  </a:lnTo>
                  <a:lnTo>
                    <a:pt x="279400" y="25398"/>
                  </a:lnTo>
                  <a:close/>
                </a:path>
                <a:path w="11012170" h="76200">
                  <a:moveTo>
                    <a:pt x="330200" y="25398"/>
                  </a:moveTo>
                  <a:lnTo>
                    <a:pt x="304800" y="25398"/>
                  </a:lnTo>
                  <a:lnTo>
                    <a:pt x="304800" y="50798"/>
                  </a:lnTo>
                  <a:lnTo>
                    <a:pt x="330200" y="50798"/>
                  </a:lnTo>
                  <a:lnTo>
                    <a:pt x="330200" y="25398"/>
                  </a:lnTo>
                  <a:close/>
                </a:path>
                <a:path w="11012170" h="76200">
                  <a:moveTo>
                    <a:pt x="381000" y="25398"/>
                  </a:moveTo>
                  <a:lnTo>
                    <a:pt x="355600" y="25398"/>
                  </a:lnTo>
                  <a:lnTo>
                    <a:pt x="355600" y="50798"/>
                  </a:lnTo>
                  <a:lnTo>
                    <a:pt x="381000" y="50798"/>
                  </a:lnTo>
                  <a:lnTo>
                    <a:pt x="381000" y="25398"/>
                  </a:lnTo>
                  <a:close/>
                </a:path>
                <a:path w="11012170" h="76200">
                  <a:moveTo>
                    <a:pt x="431800" y="25398"/>
                  </a:moveTo>
                  <a:lnTo>
                    <a:pt x="406400" y="25398"/>
                  </a:lnTo>
                  <a:lnTo>
                    <a:pt x="406400" y="50798"/>
                  </a:lnTo>
                  <a:lnTo>
                    <a:pt x="431800" y="50798"/>
                  </a:lnTo>
                  <a:lnTo>
                    <a:pt x="431800" y="25398"/>
                  </a:lnTo>
                  <a:close/>
                </a:path>
                <a:path w="11012170" h="76200">
                  <a:moveTo>
                    <a:pt x="482600" y="25398"/>
                  </a:moveTo>
                  <a:lnTo>
                    <a:pt x="457200" y="25398"/>
                  </a:lnTo>
                  <a:lnTo>
                    <a:pt x="457200" y="50798"/>
                  </a:lnTo>
                  <a:lnTo>
                    <a:pt x="482600" y="50798"/>
                  </a:lnTo>
                  <a:lnTo>
                    <a:pt x="482600" y="25398"/>
                  </a:lnTo>
                  <a:close/>
                </a:path>
                <a:path w="11012170" h="76200">
                  <a:moveTo>
                    <a:pt x="533400" y="25398"/>
                  </a:moveTo>
                  <a:lnTo>
                    <a:pt x="508000" y="25398"/>
                  </a:lnTo>
                  <a:lnTo>
                    <a:pt x="508000" y="50798"/>
                  </a:lnTo>
                  <a:lnTo>
                    <a:pt x="533400" y="50798"/>
                  </a:lnTo>
                  <a:lnTo>
                    <a:pt x="533400" y="25398"/>
                  </a:lnTo>
                  <a:close/>
                </a:path>
                <a:path w="11012170" h="76200">
                  <a:moveTo>
                    <a:pt x="584200" y="25398"/>
                  </a:moveTo>
                  <a:lnTo>
                    <a:pt x="558800" y="25398"/>
                  </a:lnTo>
                  <a:lnTo>
                    <a:pt x="558800" y="50798"/>
                  </a:lnTo>
                  <a:lnTo>
                    <a:pt x="584200" y="50798"/>
                  </a:lnTo>
                  <a:lnTo>
                    <a:pt x="584200" y="25398"/>
                  </a:lnTo>
                  <a:close/>
                </a:path>
                <a:path w="11012170" h="76200">
                  <a:moveTo>
                    <a:pt x="635000" y="25398"/>
                  </a:moveTo>
                  <a:lnTo>
                    <a:pt x="609600" y="25398"/>
                  </a:lnTo>
                  <a:lnTo>
                    <a:pt x="609600" y="50798"/>
                  </a:lnTo>
                  <a:lnTo>
                    <a:pt x="635000" y="50798"/>
                  </a:lnTo>
                  <a:lnTo>
                    <a:pt x="635000" y="25398"/>
                  </a:lnTo>
                  <a:close/>
                </a:path>
                <a:path w="11012170" h="76200">
                  <a:moveTo>
                    <a:pt x="685800" y="25398"/>
                  </a:moveTo>
                  <a:lnTo>
                    <a:pt x="660400" y="25398"/>
                  </a:lnTo>
                  <a:lnTo>
                    <a:pt x="660400" y="50798"/>
                  </a:lnTo>
                  <a:lnTo>
                    <a:pt x="685800" y="50798"/>
                  </a:lnTo>
                  <a:lnTo>
                    <a:pt x="685800" y="25398"/>
                  </a:lnTo>
                  <a:close/>
                </a:path>
                <a:path w="11012170" h="76200">
                  <a:moveTo>
                    <a:pt x="736600" y="25398"/>
                  </a:moveTo>
                  <a:lnTo>
                    <a:pt x="711200" y="25398"/>
                  </a:lnTo>
                  <a:lnTo>
                    <a:pt x="711200" y="50798"/>
                  </a:lnTo>
                  <a:lnTo>
                    <a:pt x="736600" y="50798"/>
                  </a:lnTo>
                  <a:lnTo>
                    <a:pt x="736600" y="25398"/>
                  </a:lnTo>
                  <a:close/>
                </a:path>
                <a:path w="11012170" h="76200">
                  <a:moveTo>
                    <a:pt x="787400" y="25398"/>
                  </a:moveTo>
                  <a:lnTo>
                    <a:pt x="762000" y="25398"/>
                  </a:lnTo>
                  <a:lnTo>
                    <a:pt x="762000" y="50798"/>
                  </a:lnTo>
                  <a:lnTo>
                    <a:pt x="787400" y="50798"/>
                  </a:lnTo>
                  <a:lnTo>
                    <a:pt x="787400" y="25398"/>
                  </a:lnTo>
                  <a:close/>
                </a:path>
                <a:path w="11012170" h="76200">
                  <a:moveTo>
                    <a:pt x="838200" y="25398"/>
                  </a:moveTo>
                  <a:lnTo>
                    <a:pt x="812800" y="25398"/>
                  </a:lnTo>
                  <a:lnTo>
                    <a:pt x="812800" y="50798"/>
                  </a:lnTo>
                  <a:lnTo>
                    <a:pt x="838200" y="50798"/>
                  </a:lnTo>
                  <a:lnTo>
                    <a:pt x="838200" y="25398"/>
                  </a:lnTo>
                  <a:close/>
                </a:path>
                <a:path w="11012170" h="76200">
                  <a:moveTo>
                    <a:pt x="889000" y="25398"/>
                  </a:moveTo>
                  <a:lnTo>
                    <a:pt x="863600" y="25398"/>
                  </a:lnTo>
                  <a:lnTo>
                    <a:pt x="863600" y="50798"/>
                  </a:lnTo>
                  <a:lnTo>
                    <a:pt x="889000" y="50798"/>
                  </a:lnTo>
                  <a:lnTo>
                    <a:pt x="889000" y="25398"/>
                  </a:lnTo>
                  <a:close/>
                </a:path>
                <a:path w="11012170" h="76200">
                  <a:moveTo>
                    <a:pt x="939800" y="25398"/>
                  </a:moveTo>
                  <a:lnTo>
                    <a:pt x="914400" y="25398"/>
                  </a:lnTo>
                  <a:lnTo>
                    <a:pt x="914400" y="50798"/>
                  </a:lnTo>
                  <a:lnTo>
                    <a:pt x="939800" y="50798"/>
                  </a:lnTo>
                  <a:lnTo>
                    <a:pt x="939800" y="25398"/>
                  </a:lnTo>
                  <a:close/>
                </a:path>
                <a:path w="11012170" h="76200">
                  <a:moveTo>
                    <a:pt x="990600" y="25398"/>
                  </a:moveTo>
                  <a:lnTo>
                    <a:pt x="965200" y="25398"/>
                  </a:lnTo>
                  <a:lnTo>
                    <a:pt x="965200" y="50798"/>
                  </a:lnTo>
                  <a:lnTo>
                    <a:pt x="990600" y="50798"/>
                  </a:lnTo>
                  <a:lnTo>
                    <a:pt x="990600" y="25398"/>
                  </a:lnTo>
                  <a:close/>
                </a:path>
                <a:path w="11012170" h="76200">
                  <a:moveTo>
                    <a:pt x="1041400" y="25398"/>
                  </a:moveTo>
                  <a:lnTo>
                    <a:pt x="1016000" y="25398"/>
                  </a:lnTo>
                  <a:lnTo>
                    <a:pt x="1016000" y="50798"/>
                  </a:lnTo>
                  <a:lnTo>
                    <a:pt x="1041400" y="50798"/>
                  </a:lnTo>
                  <a:lnTo>
                    <a:pt x="1041400" y="25398"/>
                  </a:lnTo>
                  <a:close/>
                </a:path>
                <a:path w="11012170" h="76200">
                  <a:moveTo>
                    <a:pt x="1092200" y="25398"/>
                  </a:moveTo>
                  <a:lnTo>
                    <a:pt x="1066800" y="25398"/>
                  </a:lnTo>
                  <a:lnTo>
                    <a:pt x="1066800" y="50798"/>
                  </a:lnTo>
                  <a:lnTo>
                    <a:pt x="1092200" y="50798"/>
                  </a:lnTo>
                  <a:lnTo>
                    <a:pt x="1092200" y="25398"/>
                  </a:lnTo>
                  <a:close/>
                </a:path>
                <a:path w="11012170" h="76200">
                  <a:moveTo>
                    <a:pt x="1143000" y="25398"/>
                  </a:moveTo>
                  <a:lnTo>
                    <a:pt x="1117600" y="25398"/>
                  </a:lnTo>
                  <a:lnTo>
                    <a:pt x="1117600" y="50798"/>
                  </a:lnTo>
                  <a:lnTo>
                    <a:pt x="1143000" y="50798"/>
                  </a:lnTo>
                  <a:lnTo>
                    <a:pt x="1143000" y="25398"/>
                  </a:lnTo>
                  <a:close/>
                </a:path>
                <a:path w="11012170" h="76200">
                  <a:moveTo>
                    <a:pt x="1193800" y="25398"/>
                  </a:moveTo>
                  <a:lnTo>
                    <a:pt x="1168400" y="25398"/>
                  </a:lnTo>
                  <a:lnTo>
                    <a:pt x="1168400" y="50798"/>
                  </a:lnTo>
                  <a:lnTo>
                    <a:pt x="1193800" y="50798"/>
                  </a:lnTo>
                  <a:lnTo>
                    <a:pt x="1193800" y="25398"/>
                  </a:lnTo>
                  <a:close/>
                </a:path>
                <a:path w="11012170" h="76200">
                  <a:moveTo>
                    <a:pt x="1244600" y="25398"/>
                  </a:moveTo>
                  <a:lnTo>
                    <a:pt x="1219200" y="25398"/>
                  </a:lnTo>
                  <a:lnTo>
                    <a:pt x="1219200" y="50798"/>
                  </a:lnTo>
                  <a:lnTo>
                    <a:pt x="1244600" y="50798"/>
                  </a:lnTo>
                  <a:lnTo>
                    <a:pt x="1244600" y="25398"/>
                  </a:lnTo>
                  <a:close/>
                </a:path>
                <a:path w="11012170" h="76200">
                  <a:moveTo>
                    <a:pt x="1295400" y="25398"/>
                  </a:moveTo>
                  <a:lnTo>
                    <a:pt x="1270000" y="25398"/>
                  </a:lnTo>
                  <a:lnTo>
                    <a:pt x="1270000" y="50798"/>
                  </a:lnTo>
                  <a:lnTo>
                    <a:pt x="1295400" y="50798"/>
                  </a:lnTo>
                  <a:lnTo>
                    <a:pt x="1295400" y="25398"/>
                  </a:lnTo>
                  <a:close/>
                </a:path>
                <a:path w="11012170" h="76200">
                  <a:moveTo>
                    <a:pt x="1346200" y="25398"/>
                  </a:moveTo>
                  <a:lnTo>
                    <a:pt x="1320800" y="25398"/>
                  </a:lnTo>
                  <a:lnTo>
                    <a:pt x="1320800" y="50798"/>
                  </a:lnTo>
                  <a:lnTo>
                    <a:pt x="1346200" y="50798"/>
                  </a:lnTo>
                  <a:lnTo>
                    <a:pt x="1346200" y="25398"/>
                  </a:lnTo>
                  <a:close/>
                </a:path>
                <a:path w="11012170" h="76200">
                  <a:moveTo>
                    <a:pt x="1397000" y="25398"/>
                  </a:moveTo>
                  <a:lnTo>
                    <a:pt x="1371600" y="25398"/>
                  </a:lnTo>
                  <a:lnTo>
                    <a:pt x="1371600" y="50798"/>
                  </a:lnTo>
                  <a:lnTo>
                    <a:pt x="1397000" y="50798"/>
                  </a:lnTo>
                  <a:lnTo>
                    <a:pt x="1397000" y="25398"/>
                  </a:lnTo>
                  <a:close/>
                </a:path>
                <a:path w="11012170" h="76200">
                  <a:moveTo>
                    <a:pt x="1447800" y="25398"/>
                  </a:moveTo>
                  <a:lnTo>
                    <a:pt x="1422400" y="25398"/>
                  </a:lnTo>
                  <a:lnTo>
                    <a:pt x="1422400" y="50798"/>
                  </a:lnTo>
                  <a:lnTo>
                    <a:pt x="1447800" y="50798"/>
                  </a:lnTo>
                  <a:lnTo>
                    <a:pt x="1447800" y="25398"/>
                  </a:lnTo>
                  <a:close/>
                </a:path>
                <a:path w="11012170" h="76200">
                  <a:moveTo>
                    <a:pt x="1498600" y="25398"/>
                  </a:moveTo>
                  <a:lnTo>
                    <a:pt x="1473200" y="25398"/>
                  </a:lnTo>
                  <a:lnTo>
                    <a:pt x="1473200" y="50798"/>
                  </a:lnTo>
                  <a:lnTo>
                    <a:pt x="1498600" y="50798"/>
                  </a:lnTo>
                  <a:lnTo>
                    <a:pt x="1498600" y="25398"/>
                  </a:lnTo>
                  <a:close/>
                </a:path>
                <a:path w="11012170" h="76200">
                  <a:moveTo>
                    <a:pt x="1549400" y="25398"/>
                  </a:moveTo>
                  <a:lnTo>
                    <a:pt x="1524000" y="25398"/>
                  </a:lnTo>
                  <a:lnTo>
                    <a:pt x="1524000" y="50798"/>
                  </a:lnTo>
                  <a:lnTo>
                    <a:pt x="1549400" y="50798"/>
                  </a:lnTo>
                  <a:lnTo>
                    <a:pt x="1549400" y="25398"/>
                  </a:lnTo>
                  <a:close/>
                </a:path>
                <a:path w="11012170" h="76200">
                  <a:moveTo>
                    <a:pt x="1600200" y="25398"/>
                  </a:moveTo>
                  <a:lnTo>
                    <a:pt x="1574800" y="25398"/>
                  </a:lnTo>
                  <a:lnTo>
                    <a:pt x="1574800" y="50798"/>
                  </a:lnTo>
                  <a:lnTo>
                    <a:pt x="1600200" y="50798"/>
                  </a:lnTo>
                  <a:lnTo>
                    <a:pt x="1600200" y="25398"/>
                  </a:lnTo>
                  <a:close/>
                </a:path>
                <a:path w="11012170" h="76200">
                  <a:moveTo>
                    <a:pt x="1651000" y="25398"/>
                  </a:moveTo>
                  <a:lnTo>
                    <a:pt x="1625600" y="25398"/>
                  </a:lnTo>
                  <a:lnTo>
                    <a:pt x="1625600" y="50798"/>
                  </a:lnTo>
                  <a:lnTo>
                    <a:pt x="1651000" y="50798"/>
                  </a:lnTo>
                  <a:lnTo>
                    <a:pt x="1651000" y="25398"/>
                  </a:lnTo>
                  <a:close/>
                </a:path>
                <a:path w="11012170" h="76200">
                  <a:moveTo>
                    <a:pt x="1701800" y="25398"/>
                  </a:moveTo>
                  <a:lnTo>
                    <a:pt x="1676400" y="25398"/>
                  </a:lnTo>
                  <a:lnTo>
                    <a:pt x="1676400" y="50798"/>
                  </a:lnTo>
                  <a:lnTo>
                    <a:pt x="1701800" y="50798"/>
                  </a:lnTo>
                  <a:lnTo>
                    <a:pt x="1701800" y="25398"/>
                  </a:lnTo>
                  <a:close/>
                </a:path>
                <a:path w="11012170" h="76200">
                  <a:moveTo>
                    <a:pt x="1752600" y="25398"/>
                  </a:moveTo>
                  <a:lnTo>
                    <a:pt x="1727200" y="25398"/>
                  </a:lnTo>
                  <a:lnTo>
                    <a:pt x="1727200" y="50798"/>
                  </a:lnTo>
                  <a:lnTo>
                    <a:pt x="1752600" y="50798"/>
                  </a:lnTo>
                  <a:lnTo>
                    <a:pt x="1752600" y="25398"/>
                  </a:lnTo>
                  <a:close/>
                </a:path>
                <a:path w="11012170" h="76200">
                  <a:moveTo>
                    <a:pt x="1803400" y="25398"/>
                  </a:moveTo>
                  <a:lnTo>
                    <a:pt x="1778000" y="25398"/>
                  </a:lnTo>
                  <a:lnTo>
                    <a:pt x="1778000" y="50798"/>
                  </a:lnTo>
                  <a:lnTo>
                    <a:pt x="1803400" y="50798"/>
                  </a:lnTo>
                  <a:lnTo>
                    <a:pt x="1803400" y="25398"/>
                  </a:lnTo>
                  <a:close/>
                </a:path>
                <a:path w="11012170" h="76200">
                  <a:moveTo>
                    <a:pt x="1854200" y="25398"/>
                  </a:moveTo>
                  <a:lnTo>
                    <a:pt x="1828800" y="25398"/>
                  </a:lnTo>
                  <a:lnTo>
                    <a:pt x="1828800" y="50798"/>
                  </a:lnTo>
                  <a:lnTo>
                    <a:pt x="1854200" y="50798"/>
                  </a:lnTo>
                  <a:lnTo>
                    <a:pt x="1854200" y="25398"/>
                  </a:lnTo>
                  <a:close/>
                </a:path>
                <a:path w="11012170" h="76200">
                  <a:moveTo>
                    <a:pt x="1905000" y="25398"/>
                  </a:moveTo>
                  <a:lnTo>
                    <a:pt x="1879600" y="25398"/>
                  </a:lnTo>
                  <a:lnTo>
                    <a:pt x="1879600" y="50798"/>
                  </a:lnTo>
                  <a:lnTo>
                    <a:pt x="1905000" y="50798"/>
                  </a:lnTo>
                  <a:lnTo>
                    <a:pt x="1905000" y="25398"/>
                  </a:lnTo>
                  <a:close/>
                </a:path>
                <a:path w="11012170" h="76200">
                  <a:moveTo>
                    <a:pt x="1955800" y="25398"/>
                  </a:moveTo>
                  <a:lnTo>
                    <a:pt x="1930400" y="25398"/>
                  </a:lnTo>
                  <a:lnTo>
                    <a:pt x="1930400" y="50798"/>
                  </a:lnTo>
                  <a:lnTo>
                    <a:pt x="1955800" y="50798"/>
                  </a:lnTo>
                  <a:lnTo>
                    <a:pt x="1955800" y="25398"/>
                  </a:lnTo>
                  <a:close/>
                </a:path>
                <a:path w="11012170" h="76200">
                  <a:moveTo>
                    <a:pt x="2006600" y="25398"/>
                  </a:moveTo>
                  <a:lnTo>
                    <a:pt x="1981200" y="25398"/>
                  </a:lnTo>
                  <a:lnTo>
                    <a:pt x="1981200" y="50798"/>
                  </a:lnTo>
                  <a:lnTo>
                    <a:pt x="2006600" y="50798"/>
                  </a:lnTo>
                  <a:lnTo>
                    <a:pt x="2006600" y="25398"/>
                  </a:lnTo>
                  <a:close/>
                </a:path>
                <a:path w="11012170" h="76200">
                  <a:moveTo>
                    <a:pt x="2057400" y="25398"/>
                  </a:moveTo>
                  <a:lnTo>
                    <a:pt x="2032000" y="25398"/>
                  </a:lnTo>
                  <a:lnTo>
                    <a:pt x="2032000" y="50798"/>
                  </a:lnTo>
                  <a:lnTo>
                    <a:pt x="2057400" y="50798"/>
                  </a:lnTo>
                  <a:lnTo>
                    <a:pt x="2057400" y="25398"/>
                  </a:lnTo>
                  <a:close/>
                </a:path>
                <a:path w="11012170" h="76200">
                  <a:moveTo>
                    <a:pt x="2108200" y="25398"/>
                  </a:moveTo>
                  <a:lnTo>
                    <a:pt x="2082800" y="25398"/>
                  </a:lnTo>
                  <a:lnTo>
                    <a:pt x="2082800" y="50798"/>
                  </a:lnTo>
                  <a:lnTo>
                    <a:pt x="2108200" y="50798"/>
                  </a:lnTo>
                  <a:lnTo>
                    <a:pt x="2108200" y="25398"/>
                  </a:lnTo>
                  <a:close/>
                </a:path>
                <a:path w="11012170" h="76200">
                  <a:moveTo>
                    <a:pt x="2159000" y="25398"/>
                  </a:moveTo>
                  <a:lnTo>
                    <a:pt x="2133600" y="25398"/>
                  </a:lnTo>
                  <a:lnTo>
                    <a:pt x="2133600" y="50798"/>
                  </a:lnTo>
                  <a:lnTo>
                    <a:pt x="2159000" y="50798"/>
                  </a:lnTo>
                  <a:lnTo>
                    <a:pt x="2159000" y="25398"/>
                  </a:lnTo>
                  <a:close/>
                </a:path>
                <a:path w="11012170" h="76200">
                  <a:moveTo>
                    <a:pt x="2209800" y="25398"/>
                  </a:moveTo>
                  <a:lnTo>
                    <a:pt x="2184400" y="25398"/>
                  </a:lnTo>
                  <a:lnTo>
                    <a:pt x="2184400" y="50798"/>
                  </a:lnTo>
                  <a:lnTo>
                    <a:pt x="2209800" y="50798"/>
                  </a:lnTo>
                  <a:lnTo>
                    <a:pt x="2209800" y="25398"/>
                  </a:lnTo>
                  <a:close/>
                </a:path>
                <a:path w="11012170" h="76200">
                  <a:moveTo>
                    <a:pt x="2260600" y="25398"/>
                  </a:moveTo>
                  <a:lnTo>
                    <a:pt x="2235200" y="25398"/>
                  </a:lnTo>
                  <a:lnTo>
                    <a:pt x="2235200" y="50798"/>
                  </a:lnTo>
                  <a:lnTo>
                    <a:pt x="2260600" y="50798"/>
                  </a:lnTo>
                  <a:lnTo>
                    <a:pt x="2260600" y="25398"/>
                  </a:lnTo>
                  <a:close/>
                </a:path>
                <a:path w="11012170" h="76200">
                  <a:moveTo>
                    <a:pt x="2311400" y="25398"/>
                  </a:moveTo>
                  <a:lnTo>
                    <a:pt x="2286000" y="25398"/>
                  </a:lnTo>
                  <a:lnTo>
                    <a:pt x="2286000" y="50798"/>
                  </a:lnTo>
                  <a:lnTo>
                    <a:pt x="2311400" y="50798"/>
                  </a:lnTo>
                  <a:lnTo>
                    <a:pt x="2311400" y="25398"/>
                  </a:lnTo>
                  <a:close/>
                </a:path>
                <a:path w="11012170" h="76200">
                  <a:moveTo>
                    <a:pt x="2362200" y="25398"/>
                  </a:moveTo>
                  <a:lnTo>
                    <a:pt x="2336800" y="25398"/>
                  </a:lnTo>
                  <a:lnTo>
                    <a:pt x="2336800" y="50798"/>
                  </a:lnTo>
                  <a:lnTo>
                    <a:pt x="2362200" y="50798"/>
                  </a:lnTo>
                  <a:lnTo>
                    <a:pt x="2362200" y="25398"/>
                  </a:lnTo>
                  <a:close/>
                </a:path>
                <a:path w="11012170" h="76200">
                  <a:moveTo>
                    <a:pt x="2413000" y="25398"/>
                  </a:moveTo>
                  <a:lnTo>
                    <a:pt x="2387600" y="25398"/>
                  </a:lnTo>
                  <a:lnTo>
                    <a:pt x="2387600" y="50798"/>
                  </a:lnTo>
                  <a:lnTo>
                    <a:pt x="2413000" y="50798"/>
                  </a:lnTo>
                  <a:lnTo>
                    <a:pt x="2413000" y="25398"/>
                  </a:lnTo>
                  <a:close/>
                </a:path>
                <a:path w="11012170" h="76200">
                  <a:moveTo>
                    <a:pt x="2463800" y="25398"/>
                  </a:moveTo>
                  <a:lnTo>
                    <a:pt x="2438400" y="25398"/>
                  </a:lnTo>
                  <a:lnTo>
                    <a:pt x="2438400" y="50798"/>
                  </a:lnTo>
                  <a:lnTo>
                    <a:pt x="2463800" y="50798"/>
                  </a:lnTo>
                  <a:lnTo>
                    <a:pt x="2463800" y="25398"/>
                  </a:lnTo>
                  <a:close/>
                </a:path>
                <a:path w="11012170" h="76200">
                  <a:moveTo>
                    <a:pt x="2514600" y="25398"/>
                  </a:moveTo>
                  <a:lnTo>
                    <a:pt x="2489200" y="25398"/>
                  </a:lnTo>
                  <a:lnTo>
                    <a:pt x="2489200" y="50798"/>
                  </a:lnTo>
                  <a:lnTo>
                    <a:pt x="2514600" y="50798"/>
                  </a:lnTo>
                  <a:lnTo>
                    <a:pt x="2514600" y="25398"/>
                  </a:lnTo>
                  <a:close/>
                </a:path>
                <a:path w="11012170" h="76200">
                  <a:moveTo>
                    <a:pt x="2565400" y="25398"/>
                  </a:moveTo>
                  <a:lnTo>
                    <a:pt x="2540000" y="25398"/>
                  </a:lnTo>
                  <a:lnTo>
                    <a:pt x="2540000" y="50798"/>
                  </a:lnTo>
                  <a:lnTo>
                    <a:pt x="2565400" y="50798"/>
                  </a:lnTo>
                  <a:lnTo>
                    <a:pt x="2565400" y="25398"/>
                  </a:lnTo>
                  <a:close/>
                </a:path>
                <a:path w="11012170" h="76200">
                  <a:moveTo>
                    <a:pt x="2616200" y="25398"/>
                  </a:moveTo>
                  <a:lnTo>
                    <a:pt x="2590800" y="25398"/>
                  </a:lnTo>
                  <a:lnTo>
                    <a:pt x="2590800" y="50798"/>
                  </a:lnTo>
                  <a:lnTo>
                    <a:pt x="2616200" y="50798"/>
                  </a:lnTo>
                  <a:lnTo>
                    <a:pt x="2616200" y="25398"/>
                  </a:lnTo>
                  <a:close/>
                </a:path>
                <a:path w="11012170" h="76200">
                  <a:moveTo>
                    <a:pt x="2667000" y="25398"/>
                  </a:moveTo>
                  <a:lnTo>
                    <a:pt x="2641600" y="25398"/>
                  </a:lnTo>
                  <a:lnTo>
                    <a:pt x="2641600" y="50798"/>
                  </a:lnTo>
                  <a:lnTo>
                    <a:pt x="2667000" y="50798"/>
                  </a:lnTo>
                  <a:lnTo>
                    <a:pt x="2667000" y="25398"/>
                  </a:lnTo>
                  <a:close/>
                </a:path>
                <a:path w="11012170" h="76200">
                  <a:moveTo>
                    <a:pt x="2717800" y="25398"/>
                  </a:moveTo>
                  <a:lnTo>
                    <a:pt x="2692400" y="25398"/>
                  </a:lnTo>
                  <a:lnTo>
                    <a:pt x="2692400" y="50798"/>
                  </a:lnTo>
                  <a:lnTo>
                    <a:pt x="2717800" y="50798"/>
                  </a:lnTo>
                  <a:lnTo>
                    <a:pt x="2717800" y="25398"/>
                  </a:lnTo>
                  <a:close/>
                </a:path>
                <a:path w="11012170" h="76200">
                  <a:moveTo>
                    <a:pt x="2768600" y="25398"/>
                  </a:moveTo>
                  <a:lnTo>
                    <a:pt x="2743200" y="25398"/>
                  </a:lnTo>
                  <a:lnTo>
                    <a:pt x="2743200" y="50798"/>
                  </a:lnTo>
                  <a:lnTo>
                    <a:pt x="2768600" y="50798"/>
                  </a:lnTo>
                  <a:lnTo>
                    <a:pt x="2768600" y="25398"/>
                  </a:lnTo>
                  <a:close/>
                </a:path>
                <a:path w="11012170" h="76200">
                  <a:moveTo>
                    <a:pt x="2819400" y="25398"/>
                  </a:moveTo>
                  <a:lnTo>
                    <a:pt x="2794000" y="25398"/>
                  </a:lnTo>
                  <a:lnTo>
                    <a:pt x="2794000" y="50798"/>
                  </a:lnTo>
                  <a:lnTo>
                    <a:pt x="2819400" y="50798"/>
                  </a:lnTo>
                  <a:lnTo>
                    <a:pt x="2819400" y="25398"/>
                  </a:lnTo>
                  <a:close/>
                </a:path>
                <a:path w="11012170" h="76200">
                  <a:moveTo>
                    <a:pt x="2870200" y="25398"/>
                  </a:moveTo>
                  <a:lnTo>
                    <a:pt x="2844800" y="25398"/>
                  </a:lnTo>
                  <a:lnTo>
                    <a:pt x="2844800" y="50798"/>
                  </a:lnTo>
                  <a:lnTo>
                    <a:pt x="2870200" y="50798"/>
                  </a:lnTo>
                  <a:lnTo>
                    <a:pt x="2870200" y="25398"/>
                  </a:lnTo>
                  <a:close/>
                </a:path>
                <a:path w="11012170" h="76200">
                  <a:moveTo>
                    <a:pt x="2921000" y="25398"/>
                  </a:moveTo>
                  <a:lnTo>
                    <a:pt x="2895600" y="25398"/>
                  </a:lnTo>
                  <a:lnTo>
                    <a:pt x="2895600" y="50798"/>
                  </a:lnTo>
                  <a:lnTo>
                    <a:pt x="2921000" y="50798"/>
                  </a:lnTo>
                  <a:lnTo>
                    <a:pt x="2921000" y="25398"/>
                  </a:lnTo>
                  <a:close/>
                </a:path>
                <a:path w="11012170" h="76200">
                  <a:moveTo>
                    <a:pt x="2971800" y="25398"/>
                  </a:moveTo>
                  <a:lnTo>
                    <a:pt x="2946400" y="25398"/>
                  </a:lnTo>
                  <a:lnTo>
                    <a:pt x="2946400" y="50798"/>
                  </a:lnTo>
                  <a:lnTo>
                    <a:pt x="2971800" y="50798"/>
                  </a:lnTo>
                  <a:lnTo>
                    <a:pt x="2971800" y="25398"/>
                  </a:lnTo>
                  <a:close/>
                </a:path>
                <a:path w="11012170" h="76200">
                  <a:moveTo>
                    <a:pt x="3022600" y="25398"/>
                  </a:moveTo>
                  <a:lnTo>
                    <a:pt x="2997200" y="25398"/>
                  </a:lnTo>
                  <a:lnTo>
                    <a:pt x="2997200" y="50798"/>
                  </a:lnTo>
                  <a:lnTo>
                    <a:pt x="3022600" y="50798"/>
                  </a:lnTo>
                  <a:lnTo>
                    <a:pt x="3022600" y="25398"/>
                  </a:lnTo>
                  <a:close/>
                </a:path>
                <a:path w="11012170" h="76200">
                  <a:moveTo>
                    <a:pt x="3073400" y="25398"/>
                  </a:moveTo>
                  <a:lnTo>
                    <a:pt x="3048000" y="25398"/>
                  </a:lnTo>
                  <a:lnTo>
                    <a:pt x="3048000" y="50798"/>
                  </a:lnTo>
                  <a:lnTo>
                    <a:pt x="3073400" y="50798"/>
                  </a:lnTo>
                  <a:lnTo>
                    <a:pt x="3073400" y="25398"/>
                  </a:lnTo>
                  <a:close/>
                </a:path>
                <a:path w="11012170" h="76200">
                  <a:moveTo>
                    <a:pt x="3124200" y="25398"/>
                  </a:moveTo>
                  <a:lnTo>
                    <a:pt x="3098800" y="25398"/>
                  </a:lnTo>
                  <a:lnTo>
                    <a:pt x="3098800" y="50798"/>
                  </a:lnTo>
                  <a:lnTo>
                    <a:pt x="3124200" y="50798"/>
                  </a:lnTo>
                  <a:lnTo>
                    <a:pt x="3124200" y="25398"/>
                  </a:lnTo>
                  <a:close/>
                </a:path>
                <a:path w="11012170" h="76200">
                  <a:moveTo>
                    <a:pt x="3175000" y="25398"/>
                  </a:moveTo>
                  <a:lnTo>
                    <a:pt x="3149600" y="25398"/>
                  </a:lnTo>
                  <a:lnTo>
                    <a:pt x="3149600" y="50798"/>
                  </a:lnTo>
                  <a:lnTo>
                    <a:pt x="3175000" y="50798"/>
                  </a:lnTo>
                  <a:lnTo>
                    <a:pt x="3175000" y="25398"/>
                  </a:lnTo>
                  <a:close/>
                </a:path>
                <a:path w="11012170" h="76200">
                  <a:moveTo>
                    <a:pt x="3225800" y="25398"/>
                  </a:moveTo>
                  <a:lnTo>
                    <a:pt x="3200400" y="25398"/>
                  </a:lnTo>
                  <a:lnTo>
                    <a:pt x="3200400" y="50798"/>
                  </a:lnTo>
                  <a:lnTo>
                    <a:pt x="3225800" y="50798"/>
                  </a:lnTo>
                  <a:lnTo>
                    <a:pt x="3225800" y="25398"/>
                  </a:lnTo>
                  <a:close/>
                </a:path>
                <a:path w="11012170" h="76200">
                  <a:moveTo>
                    <a:pt x="3276600" y="25398"/>
                  </a:moveTo>
                  <a:lnTo>
                    <a:pt x="3251200" y="25398"/>
                  </a:lnTo>
                  <a:lnTo>
                    <a:pt x="3251200" y="50798"/>
                  </a:lnTo>
                  <a:lnTo>
                    <a:pt x="3276600" y="50798"/>
                  </a:lnTo>
                  <a:lnTo>
                    <a:pt x="3276600" y="25398"/>
                  </a:lnTo>
                  <a:close/>
                </a:path>
                <a:path w="11012170" h="76200">
                  <a:moveTo>
                    <a:pt x="3327400" y="25398"/>
                  </a:moveTo>
                  <a:lnTo>
                    <a:pt x="3302000" y="25398"/>
                  </a:lnTo>
                  <a:lnTo>
                    <a:pt x="3302000" y="50798"/>
                  </a:lnTo>
                  <a:lnTo>
                    <a:pt x="3327400" y="50798"/>
                  </a:lnTo>
                  <a:lnTo>
                    <a:pt x="3327400" y="25398"/>
                  </a:lnTo>
                  <a:close/>
                </a:path>
                <a:path w="11012170" h="76200">
                  <a:moveTo>
                    <a:pt x="3378200" y="25398"/>
                  </a:moveTo>
                  <a:lnTo>
                    <a:pt x="3352800" y="25398"/>
                  </a:lnTo>
                  <a:lnTo>
                    <a:pt x="3352800" y="50798"/>
                  </a:lnTo>
                  <a:lnTo>
                    <a:pt x="3378200" y="50798"/>
                  </a:lnTo>
                  <a:lnTo>
                    <a:pt x="3378200" y="25398"/>
                  </a:lnTo>
                  <a:close/>
                </a:path>
                <a:path w="11012170" h="76200">
                  <a:moveTo>
                    <a:pt x="3429000" y="25398"/>
                  </a:moveTo>
                  <a:lnTo>
                    <a:pt x="3403600" y="25398"/>
                  </a:lnTo>
                  <a:lnTo>
                    <a:pt x="3403600" y="50798"/>
                  </a:lnTo>
                  <a:lnTo>
                    <a:pt x="3429000" y="50798"/>
                  </a:lnTo>
                  <a:lnTo>
                    <a:pt x="3429000" y="25398"/>
                  </a:lnTo>
                  <a:close/>
                </a:path>
                <a:path w="11012170" h="76200">
                  <a:moveTo>
                    <a:pt x="3479800" y="25398"/>
                  </a:moveTo>
                  <a:lnTo>
                    <a:pt x="3454400" y="25398"/>
                  </a:lnTo>
                  <a:lnTo>
                    <a:pt x="3454400" y="50798"/>
                  </a:lnTo>
                  <a:lnTo>
                    <a:pt x="3479800" y="50798"/>
                  </a:lnTo>
                  <a:lnTo>
                    <a:pt x="3479800" y="25398"/>
                  </a:lnTo>
                  <a:close/>
                </a:path>
                <a:path w="11012170" h="76200">
                  <a:moveTo>
                    <a:pt x="3530600" y="25398"/>
                  </a:moveTo>
                  <a:lnTo>
                    <a:pt x="3505200" y="25398"/>
                  </a:lnTo>
                  <a:lnTo>
                    <a:pt x="3505200" y="50798"/>
                  </a:lnTo>
                  <a:lnTo>
                    <a:pt x="3530600" y="50798"/>
                  </a:lnTo>
                  <a:lnTo>
                    <a:pt x="3530600" y="25398"/>
                  </a:lnTo>
                  <a:close/>
                </a:path>
                <a:path w="11012170" h="76200">
                  <a:moveTo>
                    <a:pt x="3581400" y="25398"/>
                  </a:moveTo>
                  <a:lnTo>
                    <a:pt x="3556000" y="25398"/>
                  </a:lnTo>
                  <a:lnTo>
                    <a:pt x="3556000" y="50798"/>
                  </a:lnTo>
                  <a:lnTo>
                    <a:pt x="3581400" y="50798"/>
                  </a:lnTo>
                  <a:lnTo>
                    <a:pt x="3581400" y="25398"/>
                  </a:lnTo>
                  <a:close/>
                </a:path>
                <a:path w="11012170" h="76200">
                  <a:moveTo>
                    <a:pt x="3632200" y="25398"/>
                  </a:moveTo>
                  <a:lnTo>
                    <a:pt x="3606800" y="25398"/>
                  </a:lnTo>
                  <a:lnTo>
                    <a:pt x="3606800" y="50798"/>
                  </a:lnTo>
                  <a:lnTo>
                    <a:pt x="3632200" y="50798"/>
                  </a:lnTo>
                  <a:lnTo>
                    <a:pt x="3632200" y="25398"/>
                  </a:lnTo>
                  <a:close/>
                </a:path>
                <a:path w="11012170" h="76200">
                  <a:moveTo>
                    <a:pt x="3683000" y="25398"/>
                  </a:moveTo>
                  <a:lnTo>
                    <a:pt x="3657600" y="25398"/>
                  </a:lnTo>
                  <a:lnTo>
                    <a:pt x="3657600" y="50798"/>
                  </a:lnTo>
                  <a:lnTo>
                    <a:pt x="3683000" y="50798"/>
                  </a:lnTo>
                  <a:lnTo>
                    <a:pt x="3683000" y="25398"/>
                  </a:lnTo>
                  <a:close/>
                </a:path>
                <a:path w="11012170" h="76200">
                  <a:moveTo>
                    <a:pt x="3733800" y="25398"/>
                  </a:moveTo>
                  <a:lnTo>
                    <a:pt x="3708400" y="25398"/>
                  </a:lnTo>
                  <a:lnTo>
                    <a:pt x="3708400" y="50798"/>
                  </a:lnTo>
                  <a:lnTo>
                    <a:pt x="3733800" y="50798"/>
                  </a:lnTo>
                  <a:lnTo>
                    <a:pt x="3733800" y="25398"/>
                  </a:lnTo>
                  <a:close/>
                </a:path>
                <a:path w="11012170" h="76200">
                  <a:moveTo>
                    <a:pt x="3784600" y="25398"/>
                  </a:moveTo>
                  <a:lnTo>
                    <a:pt x="3759200" y="25398"/>
                  </a:lnTo>
                  <a:lnTo>
                    <a:pt x="3759200" y="50798"/>
                  </a:lnTo>
                  <a:lnTo>
                    <a:pt x="3784600" y="50798"/>
                  </a:lnTo>
                  <a:lnTo>
                    <a:pt x="3784600" y="25398"/>
                  </a:lnTo>
                  <a:close/>
                </a:path>
                <a:path w="11012170" h="76200">
                  <a:moveTo>
                    <a:pt x="3835400" y="25398"/>
                  </a:moveTo>
                  <a:lnTo>
                    <a:pt x="3810000" y="25398"/>
                  </a:lnTo>
                  <a:lnTo>
                    <a:pt x="3810000" y="50798"/>
                  </a:lnTo>
                  <a:lnTo>
                    <a:pt x="3835400" y="50798"/>
                  </a:lnTo>
                  <a:lnTo>
                    <a:pt x="3835400" y="25398"/>
                  </a:lnTo>
                  <a:close/>
                </a:path>
                <a:path w="11012170" h="76200">
                  <a:moveTo>
                    <a:pt x="3886200" y="25398"/>
                  </a:moveTo>
                  <a:lnTo>
                    <a:pt x="3860800" y="25398"/>
                  </a:lnTo>
                  <a:lnTo>
                    <a:pt x="3860800" y="50798"/>
                  </a:lnTo>
                  <a:lnTo>
                    <a:pt x="3886200" y="50798"/>
                  </a:lnTo>
                  <a:lnTo>
                    <a:pt x="3886200" y="25398"/>
                  </a:lnTo>
                  <a:close/>
                </a:path>
                <a:path w="11012170" h="76200">
                  <a:moveTo>
                    <a:pt x="3937000" y="25398"/>
                  </a:moveTo>
                  <a:lnTo>
                    <a:pt x="3911600" y="25398"/>
                  </a:lnTo>
                  <a:lnTo>
                    <a:pt x="3911600" y="50798"/>
                  </a:lnTo>
                  <a:lnTo>
                    <a:pt x="3937000" y="50798"/>
                  </a:lnTo>
                  <a:lnTo>
                    <a:pt x="3937000" y="25398"/>
                  </a:lnTo>
                  <a:close/>
                </a:path>
                <a:path w="11012170" h="76200">
                  <a:moveTo>
                    <a:pt x="3987800" y="25398"/>
                  </a:moveTo>
                  <a:lnTo>
                    <a:pt x="3962400" y="25398"/>
                  </a:lnTo>
                  <a:lnTo>
                    <a:pt x="3962400" y="50798"/>
                  </a:lnTo>
                  <a:lnTo>
                    <a:pt x="3987800" y="50798"/>
                  </a:lnTo>
                  <a:lnTo>
                    <a:pt x="3987800" y="25398"/>
                  </a:lnTo>
                  <a:close/>
                </a:path>
                <a:path w="11012170" h="76200">
                  <a:moveTo>
                    <a:pt x="4038600" y="25398"/>
                  </a:moveTo>
                  <a:lnTo>
                    <a:pt x="4013200" y="25398"/>
                  </a:lnTo>
                  <a:lnTo>
                    <a:pt x="4013200" y="50798"/>
                  </a:lnTo>
                  <a:lnTo>
                    <a:pt x="4038600" y="50798"/>
                  </a:lnTo>
                  <a:lnTo>
                    <a:pt x="4038600" y="25398"/>
                  </a:lnTo>
                  <a:close/>
                </a:path>
                <a:path w="11012170" h="76200">
                  <a:moveTo>
                    <a:pt x="4089400" y="25398"/>
                  </a:moveTo>
                  <a:lnTo>
                    <a:pt x="4064000" y="25398"/>
                  </a:lnTo>
                  <a:lnTo>
                    <a:pt x="4064000" y="50798"/>
                  </a:lnTo>
                  <a:lnTo>
                    <a:pt x="4089400" y="50798"/>
                  </a:lnTo>
                  <a:lnTo>
                    <a:pt x="4089400" y="25398"/>
                  </a:lnTo>
                  <a:close/>
                </a:path>
                <a:path w="11012170" h="76200">
                  <a:moveTo>
                    <a:pt x="4140200" y="25398"/>
                  </a:moveTo>
                  <a:lnTo>
                    <a:pt x="4114800" y="25398"/>
                  </a:lnTo>
                  <a:lnTo>
                    <a:pt x="4114800" y="50798"/>
                  </a:lnTo>
                  <a:lnTo>
                    <a:pt x="4140200" y="50798"/>
                  </a:lnTo>
                  <a:lnTo>
                    <a:pt x="4140200" y="25398"/>
                  </a:lnTo>
                  <a:close/>
                </a:path>
                <a:path w="11012170" h="76200">
                  <a:moveTo>
                    <a:pt x="4191000" y="25398"/>
                  </a:moveTo>
                  <a:lnTo>
                    <a:pt x="4165600" y="25398"/>
                  </a:lnTo>
                  <a:lnTo>
                    <a:pt x="4165600" y="50798"/>
                  </a:lnTo>
                  <a:lnTo>
                    <a:pt x="4191000" y="50798"/>
                  </a:lnTo>
                  <a:lnTo>
                    <a:pt x="4191000" y="25398"/>
                  </a:lnTo>
                  <a:close/>
                </a:path>
                <a:path w="11012170" h="76200">
                  <a:moveTo>
                    <a:pt x="4241800" y="25398"/>
                  </a:moveTo>
                  <a:lnTo>
                    <a:pt x="4216400" y="25398"/>
                  </a:lnTo>
                  <a:lnTo>
                    <a:pt x="4216400" y="50798"/>
                  </a:lnTo>
                  <a:lnTo>
                    <a:pt x="4241800" y="50798"/>
                  </a:lnTo>
                  <a:lnTo>
                    <a:pt x="4241800" y="25398"/>
                  </a:lnTo>
                  <a:close/>
                </a:path>
                <a:path w="11012170" h="76200">
                  <a:moveTo>
                    <a:pt x="4292600" y="25398"/>
                  </a:moveTo>
                  <a:lnTo>
                    <a:pt x="4267200" y="25398"/>
                  </a:lnTo>
                  <a:lnTo>
                    <a:pt x="4267200" y="50798"/>
                  </a:lnTo>
                  <a:lnTo>
                    <a:pt x="4292600" y="50798"/>
                  </a:lnTo>
                  <a:lnTo>
                    <a:pt x="4292600" y="25398"/>
                  </a:lnTo>
                  <a:close/>
                </a:path>
                <a:path w="11012170" h="76200">
                  <a:moveTo>
                    <a:pt x="4343400" y="25398"/>
                  </a:moveTo>
                  <a:lnTo>
                    <a:pt x="4318000" y="25398"/>
                  </a:lnTo>
                  <a:lnTo>
                    <a:pt x="4318000" y="50798"/>
                  </a:lnTo>
                  <a:lnTo>
                    <a:pt x="4343400" y="50798"/>
                  </a:lnTo>
                  <a:lnTo>
                    <a:pt x="4343400" y="25398"/>
                  </a:lnTo>
                  <a:close/>
                </a:path>
                <a:path w="11012170" h="76200">
                  <a:moveTo>
                    <a:pt x="4394200" y="25398"/>
                  </a:moveTo>
                  <a:lnTo>
                    <a:pt x="4368800" y="25398"/>
                  </a:lnTo>
                  <a:lnTo>
                    <a:pt x="4368800" y="50798"/>
                  </a:lnTo>
                  <a:lnTo>
                    <a:pt x="4394200" y="50798"/>
                  </a:lnTo>
                  <a:lnTo>
                    <a:pt x="4394200" y="25398"/>
                  </a:lnTo>
                  <a:close/>
                </a:path>
                <a:path w="11012170" h="76200">
                  <a:moveTo>
                    <a:pt x="4445000" y="25398"/>
                  </a:moveTo>
                  <a:lnTo>
                    <a:pt x="4419600" y="25398"/>
                  </a:lnTo>
                  <a:lnTo>
                    <a:pt x="4419600" y="50798"/>
                  </a:lnTo>
                  <a:lnTo>
                    <a:pt x="4445000" y="50798"/>
                  </a:lnTo>
                  <a:lnTo>
                    <a:pt x="4445000" y="25398"/>
                  </a:lnTo>
                  <a:close/>
                </a:path>
                <a:path w="11012170" h="76200">
                  <a:moveTo>
                    <a:pt x="4495800" y="25398"/>
                  </a:moveTo>
                  <a:lnTo>
                    <a:pt x="4470400" y="25398"/>
                  </a:lnTo>
                  <a:lnTo>
                    <a:pt x="4470400" y="50798"/>
                  </a:lnTo>
                  <a:lnTo>
                    <a:pt x="4495800" y="50798"/>
                  </a:lnTo>
                  <a:lnTo>
                    <a:pt x="4495800" y="25398"/>
                  </a:lnTo>
                  <a:close/>
                </a:path>
                <a:path w="11012170" h="76200">
                  <a:moveTo>
                    <a:pt x="4546600" y="25398"/>
                  </a:moveTo>
                  <a:lnTo>
                    <a:pt x="4521200" y="25398"/>
                  </a:lnTo>
                  <a:lnTo>
                    <a:pt x="4521200" y="50798"/>
                  </a:lnTo>
                  <a:lnTo>
                    <a:pt x="4546600" y="50798"/>
                  </a:lnTo>
                  <a:lnTo>
                    <a:pt x="4546600" y="25398"/>
                  </a:lnTo>
                  <a:close/>
                </a:path>
                <a:path w="11012170" h="76200">
                  <a:moveTo>
                    <a:pt x="4597400" y="25398"/>
                  </a:moveTo>
                  <a:lnTo>
                    <a:pt x="4572000" y="25398"/>
                  </a:lnTo>
                  <a:lnTo>
                    <a:pt x="4572000" y="50798"/>
                  </a:lnTo>
                  <a:lnTo>
                    <a:pt x="4597400" y="50798"/>
                  </a:lnTo>
                  <a:lnTo>
                    <a:pt x="4597400" y="25398"/>
                  </a:lnTo>
                  <a:close/>
                </a:path>
                <a:path w="11012170" h="76200">
                  <a:moveTo>
                    <a:pt x="4648200" y="25398"/>
                  </a:moveTo>
                  <a:lnTo>
                    <a:pt x="4622800" y="25398"/>
                  </a:lnTo>
                  <a:lnTo>
                    <a:pt x="4622800" y="50798"/>
                  </a:lnTo>
                  <a:lnTo>
                    <a:pt x="4648200" y="50798"/>
                  </a:lnTo>
                  <a:lnTo>
                    <a:pt x="4648200" y="25398"/>
                  </a:lnTo>
                  <a:close/>
                </a:path>
                <a:path w="11012170" h="76200">
                  <a:moveTo>
                    <a:pt x="4699000" y="25398"/>
                  </a:moveTo>
                  <a:lnTo>
                    <a:pt x="4673600" y="25398"/>
                  </a:lnTo>
                  <a:lnTo>
                    <a:pt x="4673600" y="50798"/>
                  </a:lnTo>
                  <a:lnTo>
                    <a:pt x="4699000" y="50798"/>
                  </a:lnTo>
                  <a:lnTo>
                    <a:pt x="4699000" y="25398"/>
                  </a:lnTo>
                  <a:close/>
                </a:path>
                <a:path w="11012170" h="76200">
                  <a:moveTo>
                    <a:pt x="4749800" y="25398"/>
                  </a:moveTo>
                  <a:lnTo>
                    <a:pt x="4724400" y="25398"/>
                  </a:lnTo>
                  <a:lnTo>
                    <a:pt x="4724400" y="50798"/>
                  </a:lnTo>
                  <a:lnTo>
                    <a:pt x="4749800" y="50798"/>
                  </a:lnTo>
                  <a:lnTo>
                    <a:pt x="4749800" y="25398"/>
                  </a:lnTo>
                  <a:close/>
                </a:path>
                <a:path w="11012170" h="76200">
                  <a:moveTo>
                    <a:pt x="4800600" y="25398"/>
                  </a:moveTo>
                  <a:lnTo>
                    <a:pt x="4775200" y="25398"/>
                  </a:lnTo>
                  <a:lnTo>
                    <a:pt x="4775200" y="50798"/>
                  </a:lnTo>
                  <a:lnTo>
                    <a:pt x="4800600" y="50798"/>
                  </a:lnTo>
                  <a:lnTo>
                    <a:pt x="4800600" y="25398"/>
                  </a:lnTo>
                  <a:close/>
                </a:path>
                <a:path w="11012170" h="76200">
                  <a:moveTo>
                    <a:pt x="4851400" y="25398"/>
                  </a:moveTo>
                  <a:lnTo>
                    <a:pt x="4826000" y="25398"/>
                  </a:lnTo>
                  <a:lnTo>
                    <a:pt x="4826000" y="50798"/>
                  </a:lnTo>
                  <a:lnTo>
                    <a:pt x="4851400" y="50798"/>
                  </a:lnTo>
                  <a:lnTo>
                    <a:pt x="4851400" y="25398"/>
                  </a:lnTo>
                  <a:close/>
                </a:path>
                <a:path w="11012170" h="76200">
                  <a:moveTo>
                    <a:pt x="4902200" y="25398"/>
                  </a:moveTo>
                  <a:lnTo>
                    <a:pt x="4876800" y="25398"/>
                  </a:lnTo>
                  <a:lnTo>
                    <a:pt x="4876800" y="50798"/>
                  </a:lnTo>
                  <a:lnTo>
                    <a:pt x="4902200" y="50798"/>
                  </a:lnTo>
                  <a:lnTo>
                    <a:pt x="4902200" y="25398"/>
                  </a:lnTo>
                  <a:close/>
                </a:path>
                <a:path w="11012170" h="76200">
                  <a:moveTo>
                    <a:pt x="4953000" y="25398"/>
                  </a:moveTo>
                  <a:lnTo>
                    <a:pt x="4927600" y="25398"/>
                  </a:lnTo>
                  <a:lnTo>
                    <a:pt x="4927600" y="50798"/>
                  </a:lnTo>
                  <a:lnTo>
                    <a:pt x="4953000" y="50798"/>
                  </a:lnTo>
                  <a:lnTo>
                    <a:pt x="4953000" y="25398"/>
                  </a:lnTo>
                  <a:close/>
                </a:path>
                <a:path w="11012170" h="76200">
                  <a:moveTo>
                    <a:pt x="5003800" y="25398"/>
                  </a:moveTo>
                  <a:lnTo>
                    <a:pt x="4978400" y="25398"/>
                  </a:lnTo>
                  <a:lnTo>
                    <a:pt x="4978400" y="50798"/>
                  </a:lnTo>
                  <a:lnTo>
                    <a:pt x="5003800" y="50798"/>
                  </a:lnTo>
                  <a:lnTo>
                    <a:pt x="5003800" y="25398"/>
                  </a:lnTo>
                  <a:close/>
                </a:path>
                <a:path w="11012170" h="76200">
                  <a:moveTo>
                    <a:pt x="5054600" y="25398"/>
                  </a:moveTo>
                  <a:lnTo>
                    <a:pt x="5029200" y="25398"/>
                  </a:lnTo>
                  <a:lnTo>
                    <a:pt x="5029200" y="50798"/>
                  </a:lnTo>
                  <a:lnTo>
                    <a:pt x="5054600" y="50798"/>
                  </a:lnTo>
                  <a:lnTo>
                    <a:pt x="5054600" y="25398"/>
                  </a:lnTo>
                  <a:close/>
                </a:path>
                <a:path w="11012170" h="76200">
                  <a:moveTo>
                    <a:pt x="5105400" y="25398"/>
                  </a:moveTo>
                  <a:lnTo>
                    <a:pt x="5080000" y="25398"/>
                  </a:lnTo>
                  <a:lnTo>
                    <a:pt x="5080000" y="50798"/>
                  </a:lnTo>
                  <a:lnTo>
                    <a:pt x="5105400" y="50798"/>
                  </a:lnTo>
                  <a:lnTo>
                    <a:pt x="5105400" y="25398"/>
                  </a:lnTo>
                  <a:close/>
                </a:path>
                <a:path w="11012170" h="76200">
                  <a:moveTo>
                    <a:pt x="5156200" y="25398"/>
                  </a:moveTo>
                  <a:lnTo>
                    <a:pt x="5130800" y="25398"/>
                  </a:lnTo>
                  <a:lnTo>
                    <a:pt x="5130800" y="50798"/>
                  </a:lnTo>
                  <a:lnTo>
                    <a:pt x="5156200" y="50798"/>
                  </a:lnTo>
                  <a:lnTo>
                    <a:pt x="5156200" y="25398"/>
                  </a:lnTo>
                  <a:close/>
                </a:path>
                <a:path w="11012170" h="76200">
                  <a:moveTo>
                    <a:pt x="5207000" y="25398"/>
                  </a:moveTo>
                  <a:lnTo>
                    <a:pt x="5181600" y="25398"/>
                  </a:lnTo>
                  <a:lnTo>
                    <a:pt x="5181600" y="50798"/>
                  </a:lnTo>
                  <a:lnTo>
                    <a:pt x="5207000" y="50798"/>
                  </a:lnTo>
                  <a:lnTo>
                    <a:pt x="5207000" y="25398"/>
                  </a:lnTo>
                  <a:close/>
                </a:path>
                <a:path w="11012170" h="76200">
                  <a:moveTo>
                    <a:pt x="5257800" y="25398"/>
                  </a:moveTo>
                  <a:lnTo>
                    <a:pt x="5232400" y="25398"/>
                  </a:lnTo>
                  <a:lnTo>
                    <a:pt x="5232400" y="50798"/>
                  </a:lnTo>
                  <a:lnTo>
                    <a:pt x="5257800" y="50798"/>
                  </a:lnTo>
                  <a:lnTo>
                    <a:pt x="5257800" y="25398"/>
                  </a:lnTo>
                  <a:close/>
                </a:path>
                <a:path w="11012170" h="76200">
                  <a:moveTo>
                    <a:pt x="5308600" y="25398"/>
                  </a:moveTo>
                  <a:lnTo>
                    <a:pt x="5283200" y="25398"/>
                  </a:lnTo>
                  <a:lnTo>
                    <a:pt x="5283200" y="50798"/>
                  </a:lnTo>
                  <a:lnTo>
                    <a:pt x="5308600" y="50798"/>
                  </a:lnTo>
                  <a:lnTo>
                    <a:pt x="5308600" y="25398"/>
                  </a:lnTo>
                  <a:close/>
                </a:path>
                <a:path w="11012170" h="76200">
                  <a:moveTo>
                    <a:pt x="5359400" y="25398"/>
                  </a:moveTo>
                  <a:lnTo>
                    <a:pt x="5334000" y="25398"/>
                  </a:lnTo>
                  <a:lnTo>
                    <a:pt x="5334000" y="50798"/>
                  </a:lnTo>
                  <a:lnTo>
                    <a:pt x="5359400" y="50798"/>
                  </a:lnTo>
                  <a:lnTo>
                    <a:pt x="5359400" y="25398"/>
                  </a:lnTo>
                  <a:close/>
                </a:path>
                <a:path w="11012170" h="76200">
                  <a:moveTo>
                    <a:pt x="5410200" y="25398"/>
                  </a:moveTo>
                  <a:lnTo>
                    <a:pt x="5384800" y="25398"/>
                  </a:lnTo>
                  <a:lnTo>
                    <a:pt x="5384800" y="50798"/>
                  </a:lnTo>
                  <a:lnTo>
                    <a:pt x="5410200" y="50798"/>
                  </a:lnTo>
                  <a:lnTo>
                    <a:pt x="5410200" y="25398"/>
                  </a:lnTo>
                  <a:close/>
                </a:path>
                <a:path w="11012170" h="76200">
                  <a:moveTo>
                    <a:pt x="5461000" y="25398"/>
                  </a:moveTo>
                  <a:lnTo>
                    <a:pt x="5435600" y="25398"/>
                  </a:lnTo>
                  <a:lnTo>
                    <a:pt x="5435600" y="50798"/>
                  </a:lnTo>
                  <a:lnTo>
                    <a:pt x="5461000" y="50798"/>
                  </a:lnTo>
                  <a:lnTo>
                    <a:pt x="5461000" y="25398"/>
                  </a:lnTo>
                  <a:close/>
                </a:path>
                <a:path w="11012170" h="76200">
                  <a:moveTo>
                    <a:pt x="5511800" y="25398"/>
                  </a:moveTo>
                  <a:lnTo>
                    <a:pt x="5486400" y="25398"/>
                  </a:lnTo>
                  <a:lnTo>
                    <a:pt x="5486400" y="50798"/>
                  </a:lnTo>
                  <a:lnTo>
                    <a:pt x="5511800" y="50798"/>
                  </a:lnTo>
                  <a:lnTo>
                    <a:pt x="5511800" y="25398"/>
                  </a:lnTo>
                  <a:close/>
                </a:path>
                <a:path w="11012170" h="76200">
                  <a:moveTo>
                    <a:pt x="5562600" y="25398"/>
                  </a:moveTo>
                  <a:lnTo>
                    <a:pt x="5537200" y="25398"/>
                  </a:lnTo>
                  <a:lnTo>
                    <a:pt x="5537200" y="50798"/>
                  </a:lnTo>
                  <a:lnTo>
                    <a:pt x="5562600" y="50798"/>
                  </a:lnTo>
                  <a:lnTo>
                    <a:pt x="5562600" y="25398"/>
                  </a:lnTo>
                  <a:close/>
                </a:path>
                <a:path w="11012170" h="76200">
                  <a:moveTo>
                    <a:pt x="5613400" y="25398"/>
                  </a:moveTo>
                  <a:lnTo>
                    <a:pt x="5588000" y="25398"/>
                  </a:lnTo>
                  <a:lnTo>
                    <a:pt x="5588000" y="50798"/>
                  </a:lnTo>
                  <a:lnTo>
                    <a:pt x="5613400" y="50798"/>
                  </a:lnTo>
                  <a:lnTo>
                    <a:pt x="5613400" y="25398"/>
                  </a:lnTo>
                  <a:close/>
                </a:path>
                <a:path w="11012170" h="76200">
                  <a:moveTo>
                    <a:pt x="5664200" y="25398"/>
                  </a:moveTo>
                  <a:lnTo>
                    <a:pt x="5638800" y="25398"/>
                  </a:lnTo>
                  <a:lnTo>
                    <a:pt x="5638800" y="50798"/>
                  </a:lnTo>
                  <a:lnTo>
                    <a:pt x="5664200" y="50798"/>
                  </a:lnTo>
                  <a:lnTo>
                    <a:pt x="5664200" y="25398"/>
                  </a:lnTo>
                  <a:close/>
                </a:path>
                <a:path w="11012170" h="76200">
                  <a:moveTo>
                    <a:pt x="5715000" y="25398"/>
                  </a:moveTo>
                  <a:lnTo>
                    <a:pt x="5689600" y="25398"/>
                  </a:lnTo>
                  <a:lnTo>
                    <a:pt x="5689600" y="50798"/>
                  </a:lnTo>
                  <a:lnTo>
                    <a:pt x="5715000" y="50798"/>
                  </a:lnTo>
                  <a:lnTo>
                    <a:pt x="5715000" y="25398"/>
                  </a:lnTo>
                  <a:close/>
                </a:path>
                <a:path w="11012170" h="76200">
                  <a:moveTo>
                    <a:pt x="5765800" y="25398"/>
                  </a:moveTo>
                  <a:lnTo>
                    <a:pt x="5740400" y="25398"/>
                  </a:lnTo>
                  <a:lnTo>
                    <a:pt x="5740400" y="50798"/>
                  </a:lnTo>
                  <a:lnTo>
                    <a:pt x="5765800" y="50798"/>
                  </a:lnTo>
                  <a:lnTo>
                    <a:pt x="5765800" y="25398"/>
                  </a:lnTo>
                  <a:close/>
                </a:path>
                <a:path w="11012170" h="76200">
                  <a:moveTo>
                    <a:pt x="5816600" y="25398"/>
                  </a:moveTo>
                  <a:lnTo>
                    <a:pt x="5791200" y="25398"/>
                  </a:lnTo>
                  <a:lnTo>
                    <a:pt x="5791200" y="50798"/>
                  </a:lnTo>
                  <a:lnTo>
                    <a:pt x="5816600" y="50798"/>
                  </a:lnTo>
                  <a:lnTo>
                    <a:pt x="5816600" y="25398"/>
                  </a:lnTo>
                  <a:close/>
                </a:path>
                <a:path w="11012170" h="76200">
                  <a:moveTo>
                    <a:pt x="5867400" y="25398"/>
                  </a:moveTo>
                  <a:lnTo>
                    <a:pt x="5842000" y="25398"/>
                  </a:lnTo>
                  <a:lnTo>
                    <a:pt x="5842000" y="50798"/>
                  </a:lnTo>
                  <a:lnTo>
                    <a:pt x="5867400" y="50798"/>
                  </a:lnTo>
                  <a:lnTo>
                    <a:pt x="5867400" y="25398"/>
                  </a:lnTo>
                  <a:close/>
                </a:path>
                <a:path w="11012170" h="76200">
                  <a:moveTo>
                    <a:pt x="5918200" y="25398"/>
                  </a:moveTo>
                  <a:lnTo>
                    <a:pt x="5892800" y="25398"/>
                  </a:lnTo>
                  <a:lnTo>
                    <a:pt x="5892800" y="50798"/>
                  </a:lnTo>
                  <a:lnTo>
                    <a:pt x="5918200" y="50798"/>
                  </a:lnTo>
                  <a:lnTo>
                    <a:pt x="5918200" y="25398"/>
                  </a:lnTo>
                  <a:close/>
                </a:path>
                <a:path w="11012170" h="76200">
                  <a:moveTo>
                    <a:pt x="5969000" y="25398"/>
                  </a:moveTo>
                  <a:lnTo>
                    <a:pt x="5943600" y="25398"/>
                  </a:lnTo>
                  <a:lnTo>
                    <a:pt x="5943600" y="50798"/>
                  </a:lnTo>
                  <a:lnTo>
                    <a:pt x="5969000" y="50798"/>
                  </a:lnTo>
                  <a:lnTo>
                    <a:pt x="5969000" y="25398"/>
                  </a:lnTo>
                  <a:close/>
                </a:path>
                <a:path w="11012170" h="76200">
                  <a:moveTo>
                    <a:pt x="6019800" y="25398"/>
                  </a:moveTo>
                  <a:lnTo>
                    <a:pt x="5994400" y="25398"/>
                  </a:lnTo>
                  <a:lnTo>
                    <a:pt x="5994400" y="50798"/>
                  </a:lnTo>
                  <a:lnTo>
                    <a:pt x="6019800" y="50798"/>
                  </a:lnTo>
                  <a:lnTo>
                    <a:pt x="6019800" y="25398"/>
                  </a:lnTo>
                  <a:close/>
                </a:path>
                <a:path w="11012170" h="76200">
                  <a:moveTo>
                    <a:pt x="6070600" y="25398"/>
                  </a:moveTo>
                  <a:lnTo>
                    <a:pt x="6045200" y="25398"/>
                  </a:lnTo>
                  <a:lnTo>
                    <a:pt x="6045200" y="50798"/>
                  </a:lnTo>
                  <a:lnTo>
                    <a:pt x="6070600" y="50798"/>
                  </a:lnTo>
                  <a:lnTo>
                    <a:pt x="6070600" y="25398"/>
                  </a:lnTo>
                  <a:close/>
                </a:path>
                <a:path w="11012170" h="76200">
                  <a:moveTo>
                    <a:pt x="6121400" y="25398"/>
                  </a:moveTo>
                  <a:lnTo>
                    <a:pt x="6096000" y="25398"/>
                  </a:lnTo>
                  <a:lnTo>
                    <a:pt x="6096000" y="50798"/>
                  </a:lnTo>
                  <a:lnTo>
                    <a:pt x="6121400" y="50798"/>
                  </a:lnTo>
                  <a:lnTo>
                    <a:pt x="6121400" y="25398"/>
                  </a:lnTo>
                  <a:close/>
                </a:path>
                <a:path w="11012170" h="76200">
                  <a:moveTo>
                    <a:pt x="6172200" y="25398"/>
                  </a:moveTo>
                  <a:lnTo>
                    <a:pt x="6146800" y="25398"/>
                  </a:lnTo>
                  <a:lnTo>
                    <a:pt x="6146800" y="50798"/>
                  </a:lnTo>
                  <a:lnTo>
                    <a:pt x="6172200" y="50798"/>
                  </a:lnTo>
                  <a:lnTo>
                    <a:pt x="6172200" y="25398"/>
                  </a:lnTo>
                  <a:close/>
                </a:path>
                <a:path w="11012170" h="76200">
                  <a:moveTo>
                    <a:pt x="6223000" y="25398"/>
                  </a:moveTo>
                  <a:lnTo>
                    <a:pt x="6197600" y="25398"/>
                  </a:lnTo>
                  <a:lnTo>
                    <a:pt x="6197600" y="50798"/>
                  </a:lnTo>
                  <a:lnTo>
                    <a:pt x="6223000" y="50798"/>
                  </a:lnTo>
                  <a:lnTo>
                    <a:pt x="6223000" y="25398"/>
                  </a:lnTo>
                  <a:close/>
                </a:path>
                <a:path w="11012170" h="76200">
                  <a:moveTo>
                    <a:pt x="6273800" y="25398"/>
                  </a:moveTo>
                  <a:lnTo>
                    <a:pt x="6248400" y="25398"/>
                  </a:lnTo>
                  <a:lnTo>
                    <a:pt x="6248400" y="50798"/>
                  </a:lnTo>
                  <a:lnTo>
                    <a:pt x="6273800" y="50798"/>
                  </a:lnTo>
                  <a:lnTo>
                    <a:pt x="6273800" y="25398"/>
                  </a:lnTo>
                  <a:close/>
                </a:path>
                <a:path w="11012170" h="76200">
                  <a:moveTo>
                    <a:pt x="6324600" y="25398"/>
                  </a:moveTo>
                  <a:lnTo>
                    <a:pt x="6299200" y="25398"/>
                  </a:lnTo>
                  <a:lnTo>
                    <a:pt x="6299200" y="50798"/>
                  </a:lnTo>
                  <a:lnTo>
                    <a:pt x="6324600" y="50798"/>
                  </a:lnTo>
                  <a:lnTo>
                    <a:pt x="6324600" y="25398"/>
                  </a:lnTo>
                  <a:close/>
                </a:path>
                <a:path w="11012170" h="76200">
                  <a:moveTo>
                    <a:pt x="6375400" y="25398"/>
                  </a:moveTo>
                  <a:lnTo>
                    <a:pt x="6350000" y="25398"/>
                  </a:lnTo>
                  <a:lnTo>
                    <a:pt x="6350000" y="50798"/>
                  </a:lnTo>
                  <a:lnTo>
                    <a:pt x="6375400" y="50798"/>
                  </a:lnTo>
                  <a:lnTo>
                    <a:pt x="6375400" y="25398"/>
                  </a:lnTo>
                  <a:close/>
                </a:path>
                <a:path w="11012170" h="76200">
                  <a:moveTo>
                    <a:pt x="6426200" y="25398"/>
                  </a:moveTo>
                  <a:lnTo>
                    <a:pt x="6400800" y="25398"/>
                  </a:lnTo>
                  <a:lnTo>
                    <a:pt x="6400800" y="50798"/>
                  </a:lnTo>
                  <a:lnTo>
                    <a:pt x="6426200" y="50798"/>
                  </a:lnTo>
                  <a:lnTo>
                    <a:pt x="6426200" y="25398"/>
                  </a:lnTo>
                  <a:close/>
                </a:path>
                <a:path w="11012170" h="76200">
                  <a:moveTo>
                    <a:pt x="6477000" y="25398"/>
                  </a:moveTo>
                  <a:lnTo>
                    <a:pt x="6451600" y="25398"/>
                  </a:lnTo>
                  <a:lnTo>
                    <a:pt x="6451600" y="50798"/>
                  </a:lnTo>
                  <a:lnTo>
                    <a:pt x="6477000" y="50798"/>
                  </a:lnTo>
                  <a:lnTo>
                    <a:pt x="6477000" y="25398"/>
                  </a:lnTo>
                  <a:close/>
                </a:path>
                <a:path w="11012170" h="76200">
                  <a:moveTo>
                    <a:pt x="6527800" y="25398"/>
                  </a:moveTo>
                  <a:lnTo>
                    <a:pt x="6502400" y="25398"/>
                  </a:lnTo>
                  <a:lnTo>
                    <a:pt x="6502400" y="50798"/>
                  </a:lnTo>
                  <a:lnTo>
                    <a:pt x="6527800" y="50798"/>
                  </a:lnTo>
                  <a:lnTo>
                    <a:pt x="6527800" y="25398"/>
                  </a:lnTo>
                  <a:close/>
                </a:path>
                <a:path w="11012170" h="76200">
                  <a:moveTo>
                    <a:pt x="6578600" y="25398"/>
                  </a:moveTo>
                  <a:lnTo>
                    <a:pt x="6553200" y="25398"/>
                  </a:lnTo>
                  <a:lnTo>
                    <a:pt x="6553200" y="50798"/>
                  </a:lnTo>
                  <a:lnTo>
                    <a:pt x="6578600" y="50798"/>
                  </a:lnTo>
                  <a:lnTo>
                    <a:pt x="6578600" y="25398"/>
                  </a:lnTo>
                  <a:close/>
                </a:path>
                <a:path w="11012170" h="76200">
                  <a:moveTo>
                    <a:pt x="6629400" y="25398"/>
                  </a:moveTo>
                  <a:lnTo>
                    <a:pt x="6604000" y="25398"/>
                  </a:lnTo>
                  <a:lnTo>
                    <a:pt x="6604000" y="50798"/>
                  </a:lnTo>
                  <a:lnTo>
                    <a:pt x="6629400" y="50798"/>
                  </a:lnTo>
                  <a:lnTo>
                    <a:pt x="6629400" y="25398"/>
                  </a:lnTo>
                  <a:close/>
                </a:path>
                <a:path w="11012170" h="76200">
                  <a:moveTo>
                    <a:pt x="6680200" y="25398"/>
                  </a:moveTo>
                  <a:lnTo>
                    <a:pt x="6654800" y="25398"/>
                  </a:lnTo>
                  <a:lnTo>
                    <a:pt x="6654800" y="50798"/>
                  </a:lnTo>
                  <a:lnTo>
                    <a:pt x="6680200" y="50798"/>
                  </a:lnTo>
                  <a:lnTo>
                    <a:pt x="6680200" y="25398"/>
                  </a:lnTo>
                  <a:close/>
                </a:path>
                <a:path w="11012170" h="76200">
                  <a:moveTo>
                    <a:pt x="6731000" y="25398"/>
                  </a:moveTo>
                  <a:lnTo>
                    <a:pt x="6705600" y="25398"/>
                  </a:lnTo>
                  <a:lnTo>
                    <a:pt x="6705600" y="50798"/>
                  </a:lnTo>
                  <a:lnTo>
                    <a:pt x="6731000" y="50798"/>
                  </a:lnTo>
                  <a:lnTo>
                    <a:pt x="6731000" y="25398"/>
                  </a:lnTo>
                  <a:close/>
                </a:path>
                <a:path w="11012170" h="76200">
                  <a:moveTo>
                    <a:pt x="6781800" y="25398"/>
                  </a:moveTo>
                  <a:lnTo>
                    <a:pt x="6756400" y="25398"/>
                  </a:lnTo>
                  <a:lnTo>
                    <a:pt x="6756400" y="50798"/>
                  </a:lnTo>
                  <a:lnTo>
                    <a:pt x="6781800" y="50798"/>
                  </a:lnTo>
                  <a:lnTo>
                    <a:pt x="6781800" y="25398"/>
                  </a:lnTo>
                  <a:close/>
                </a:path>
                <a:path w="11012170" h="76200">
                  <a:moveTo>
                    <a:pt x="6832600" y="25398"/>
                  </a:moveTo>
                  <a:lnTo>
                    <a:pt x="6807200" y="25398"/>
                  </a:lnTo>
                  <a:lnTo>
                    <a:pt x="6807200" y="50798"/>
                  </a:lnTo>
                  <a:lnTo>
                    <a:pt x="6832600" y="50798"/>
                  </a:lnTo>
                  <a:lnTo>
                    <a:pt x="6832600" y="25398"/>
                  </a:lnTo>
                  <a:close/>
                </a:path>
                <a:path w="11012170" h="76200">
                  <a:moveTo>
                    <a:pt x="6883400" y="25398"/>
                  </a:moveTo>
                  <a:lnTo>
                    <a:pt x="6858000" y="25398"/>
                  </a:lnTo>
                  <a:lnTo>
                    <a:pt x="6858000" y="50798"/>
                  </a:lnTo>
                  <a:lnTo>
                    <a:pt x="6883400" y="50798"/>
                  </a:lnTo>
                  <a:lnTo>
                    <a:pt x="6883400" y="25398"/>
                  </a:lnTo>
                  <a:close/>
                </a:path>
                <a:path w="11012170" h="76200">
                  <a:moveTo>
                    <a:pt x="6934200" y="25398"/>
                  </a:moveTo>
                  <a:lnTo>
                    <a:pt x="6908800" y="25398"/>
                  </a:lnTo>
                  <a:lnTo>
                    <a:pt x="6908800" y="50798"/>
                  </a:lnTo>
                  <a:lnTo>
                    <a:pt x="6934200" y="50798"/>
                  </a:lnTo>
                  <a:lnTo>
                    <a:pt x="6934200" y="25398"/>
                  </a:lnTo>
                  <a:close/>
                </a:path>
                <a:path w="11012170" h="76200">
                  <a:moveTo>
                    <a:pt x="6985000" y="25398"/>
                  </a:moveTo>
                  <a:lnTo>
                    <a:pt x="6959600" y="25398"/>
                  </a:lnTo>
                  <a:lnTo>
                    <a:pt x="6959600" y="50798"/>
                  </a:lnTo>
                  <a:lnTo>
                    <a:pt x="6985000" y="50798"/>
                  </a:lnTo>
                  <a:lnTo>
                    <a:pt x="6985000" y="25398"/>
                  </a:lnTo>
                  <a:close/>
                </a:path>
                <a:path w="11012170" h="76200">
                  <a:moveTo>
                    <a:pt x="7035800" y="25398"/>
                  </a:moveTo>
                  <a:lnTo>
                    <a:pt x="7010400" y="25398"/>
                  </a:lnTo>
                  <a:lnTo>
                    <a:pt x="7010400" y="50798"/>
                  </a:lnTo>
                  <a:lnTo>
                    <a:pt x="7035800" y="50798"/>
                  </a:lnTo>
                  <a:lnTo>
                    <a:pt x="7035800" y="25398"/>
                  </a:lnTo>
                  <a:close/>
                </a:path>
                <a:path w="11012170" h="76200">
                  <a:moveTo>
                    <a:pt x="7086600" y="25398"/>
                  </a:moveTo>
                  <a:lnTo>
                    <a:pt x="7061200" y="25398"/>
                  </a:lnTo>
                  <a:lnTo>
                    <a:pt x="7061200" y="50798"/>
                  </a:lnTo>
                  <a:lnTo>
                    <a:pt x="7086600" y="50798"/>
                  </a:lnTo>
                  <a:lnTo>
                    <a:pt x="7086600" y="25398"/>
                  </a:lnTo>
                  <a:close/>
                </a:path>
                <a:path w="11012170" h="76200">
                  <a:moveTo>
                    <a:pt x="7137400" y="25398"/>
                  </a:moveTo>
                  <a:lnTo>
                    <a:pt x="7112000" y="25398"/>
                  </a:lnTo>
                  <a:lnTo>
                    <a:pt x="7112000" y="50798"/>
                  </a:lnTo>
                  <a:lnTo>
                    <a:pt x="7137400" y="50798"/>
                  </a:lnTo>
                  <a:lnTo>
                    <a:pt x="7137400" y="25398"/>
                  </a:lnTo>
                  <a:close/>
                </a:path>
                <a:path w="11012170" h="76200">
                  <a:moveTo>
                    <a:pt x="7188200" y="25398"/>
                  </a:moveTo>
                  <a:lnTo>
                    <a:pt x="7162800" y="25398"/>
                  </a:lnTo>
                  <a:lnTo>
                    <a:pt x="7162800" y="50798"/>
                  </a:lnTo>
                  <a:lnTo>
                    <a:pt x="7188200" y="50798"/>
                  </a:lnTo>
                  <a:lnTo>
                    <a:pt x="7188200" y="25398"/>
                  </a:lnTo>
                  <a:close/>
                </a:path>
                <a:path w="11012170" h="76200">
                  <a:moveTo>
                    <a:pt x="7239000" y="25398"/>
                  </a:moveTo>
                  <a:lnTo>
                    <a:pt x="7213600" y="25398"/>
                  </a:lnTo>
                  <a:lnTo>
                    <a:pt x="7213600" y="50798"/>
                  </a:lnTo>
                  <a:lnTo>
                    <a:pt x="7239000" y="50798"/>
                  </a:lnTo>
                  <a:lnTo>
                    <a:pt x="7239000" y="25398"/>
                  </a:lnTo>
                  <a:close/>
                </a:path>
                <a:path w="11012170" h="76200">
                  <a:moveTo>
                    <a:pt x="7289800" y="25398"/>
                  </a:moveTo>
                  <a:lnTo>
                    <a:pt x="7264400" y="25398"/>
                  </a:lnTo>
                  <a:lnTo>
                    <a:pt x="7264400" y="50798"/>
                  </a:lnTo>
                  <a:lnTo>
                    <a:pt x="7289800" y="50798"/>
                  </a:lnTo>
                  <a:lnTo>
                    <a:pt x="7289800" y="25398"/>
                  </a:lnTo>
                  <a:close/>
                </a:path>
                <a:path w="11012170" h="76200">
                  <a:moveTo>
                    <a:pt x="7340600" y="25398"/>
                  </a:moveTo>
                  <a:lnTo>
                    <a:pt x="7315200" y="25398"/>
                  </a:lnTo>
                  <a:lnTo>
                    <a:pt x="7315200" y="50798"/>
                  </a:lnTo>
                  <a:lnTo>
                    <a:pt x="7340600" y="50798"/>
                  </a:lnTo>
                  <a:lnTo>
                    <a:pt x="7340600" y="25398"/>
                  </a:lnTo>
                  <a:close/>
                </a:path>
                <a:path w="11012170" h="76200">
                  <a:moveTo>
                    <a:pt x="7391400" y="25398"/>
                  </a:moveTo>
                  <a:lnTo>
                    <a:pt x="7366000" y="25398"/>
                  </a:lnTo>
                  <a:lnTo>
                    <a:pt x="7366000" y="50798"/>
                  </a:lnTo>
                  <a:lnTo>
                    <a:pt x="7391400" y="50798"/>
                  </a:lnTo>
                  <a:lnTo>
                    <a:pt x="7391400" y="25398"/>
                  </a:lnTo>
                  <a:close/>
                </a:path>
                <a:path w="11012170" h="76200">
                  <a:moveTo>
                    <a:pt x="7442200" y="25398"/>
                  </a:moveTo>
                  <a:lnTo>
                    <a:pt x="7416800" y="25398"/>
                  </a:lnTo>
                  <a:lnTo>
                    <a:pt x="7416800" y="50798"/>
                  </a:lnTo>
                  <a:lnTo>
                    <a:pt x="7442200" y="50798"/>
                  </a:lnTo>
                  <a:lnTo>
                    <a:pt x="7442200" y="25398"/>
                  </a:lnTo>
                  <a:close/>
                </a:path>
                <a:path w="11012170" h="76200">
                  <a:moveTo>
                    <a:pt x="7493000" y="25398"/>
                  </a:moveTo>
                  <a:lnTo>
                    <a:pt x="7467600" y="25398"/>
                  </a:lnTo>
                  <a:lnTo>
                    <a:pt x="7467600" y="50798"/>
                  </a:lnTo>
                  <a:lnTo>
                    <a:pt x="7493000" y="50798"/>
                  </a:lnTo>
                  <a:lnTo>
                    <a:pt x="7493000" y="25398"/>
                  </a:lnTo>
                  <a:close/>
                </a:path>
                <a:path w="11012170" h="76200">
                  <a:moveTo>
                    <a:pt x="7543800" y="25398"/>
                  </a:moveTo>
                  <a:lnTo>
                    <a:pt x="7518400" y="25398"/>
                  </a:lnTo>
                  <a:lnTo>
                    <a:pt x="7518400" y="50798"/>
                  </a:lnTo>
                  <a:lnTo>
                    <a:pt x="7543800" y="50798"/>
                  </a:lnTo>
                  <a:lnTo>
                    <a:pt x="7543800" y="25398"/>
                  </a:lnTo>
                  <a:close/>
                </a:path>
                <a:path w="11012170" h="76200">
                  <a:moveTo>
                    <a:pt x="7594600" y="25398"/>
                  </a:moveTo>
                  <a:lnTo>
                    <a:pt x="7569200" y="25398"/>
                  </a:lnTo>
                  <a:lnTo>
                    <a:pt x="7569200" y="50798"/>
                  </a:lnTo>
                  <a:lnTo>
                    <a:pt x="7594600" y="50798"/>
                  </a:lnTo>
                  <a:lnTo>
                    <a:pt x="7594600" y="25398"/>
                  </a:lnTo>
                  <a:close/>
                </a:path>
                <a:path w="11012170" h="76200">
                  <a:moveTo>
                    <a:pt x="7645400" y="25398"/>
                  </a:moveTo>
                  <a:lnTo>
                    <a:pt x="7620000" y="25398"/>
                  </a:lnTo>
                  <a:lnTo>
                    <a:pt x="7620000" y="50798"/>
                  </a:lnTo>
                  <a:lnTo>
                    <a:pt x="7645400" y="50798"/>
                  </a:lnTo>
                  <a:lnTo>
                    <a:pt x="7645400" y="25398"/>
                  </a:lnTo>
                  <a:close/>
                </a:path>
                <a:path w="11012170" h="76200">
                  <a:moveTo>
                    <a:pt x="7696200" y="25398"/>
                  </a:moveTo>
                  <a:lnTo>
                    <a:pt x="7670800" y="25398"/>
                  </a:lnTo>
                  <a:lnTo>
                    <a:pt x="7670800" y="50798"/>
                  </a:lnTo>
                  <a:lnTo>
                    <a:pt x="7696200" y="50798"/>
                  </a:lnTo>
                  <a:lnTo>
                    <a:pt x="7696200" y="25398"/>
                  </a:lnTo>
                  <a:close/>
                </a:path>
                <a:path w="11012170" h="76200">
                  <a:moveTo>
                    <a:pt x="7747000" y="25398"/>
                  </a:moveTo>
                  <a:lnTo>
                    <a:pt x="7721600" y="25398"/>
                  </a:lnTo>
                  <a:lnTo>
                    <a:pt x="7721600" y="50798"/>
                  </a:lnTo>
                  <a:lnTo>
                    <a:pt x="7747000" y="50798"/>
                  </a:lnTo>
                  <a:lnTo>
                    <a:pt x="7747000" y="25398"/>
                  </a:lnTo>
                  <a:close/>
                </a:path>
                <a:path w="11012170" h="76200">
                  <a:moveTo>
                    <a:pt x="7797800" y="25398"/>
                  </a:moveTo>
                  <a:lnTo>
                    <a:pt x="7772400" y="25398"/>
                  </a:lnTo>
                  <a:lnTo>
                    <a:pt x="7772400" y="50798"/>
                  </a:lnTo>
                  <a:lnTo>
                    <a:pt x="7797800" y="50798"/>
                  </a:lnTo>
                  <a:lnTo>
                    <a:pt x="7797800" y="25398"/>
                  </a:lnTo>
                  <a:close/>
                </a:path>
                <a:path w="11012170" h="76200">
                  <a:moveTo>
                    <a:pt x="7848600" y="25398"/>
                  </a:moveTo>
                  <a:lnTo>
                    <a:pt x="7823200" y="25398"/>
                  </a:lnTo>
                  <a:lnTo>
                    <a:pt x="7823200" y="50798"/>
                  </a:lnTo>
                  <a:lnTo>
                    <a:pt x="7848600" y="50798"/>
                  </a:lnTo>
                  <a:lnTo>
                    <a:pt x="7848600" y="25398"/>
                  </a:lnTo>
                  <a:close/>
                </a:path>
                <a:path w="11012170" h="76200">
                  <a:moveTo>
                    <a:pt x="7899400" y="25398"/>
                  </a:moveTo>
                  <a:lnTo>
                    <a:pt x="7874000" y="25398"/>
                  </a:lnTo>
                  <a:lnTo>
                    <a:pt x="7874000" y="50798"/>
                  </a:lnTo>
                  <a:lnTo>
                    <a:pt x="7899400" y="50798"/>
                  </a:lnTo>
                  <a:lnTo>
                    <a:pt x="7899400" y="25398"/>
                  </a:lnTo>
                  <a:close/>
                </a:path>
                <a:path w="11012170" h="76200">
                  <a:moveTo>
                    <a:pt x="7950200" y="25398"/>
                  </a:moveTo>
                  <a:lnTo>
                    <a:pt x="7924800" y="25398"/>
                  </a:lnTo>
                  <a:lnTo>
                    <a:pt x="7924800" y="50798"/>
                  </a:lnTo>
                  <a:lnTo>
                    <a:pt x="7950200" y="50798"/>
                  </a:lnTo>
                  <a:lnTo>
                    <a:pt x="7950200" y="25398"/>
                  </a:lnTo>
                  <a:close/>
                </a:path>
                <a:path w="11012170" h="76200">
                  <a:moveTo>
                    <a:pt x="8001000" y="25398"/>
                  </a:moveTo>
                  <a:lnTo>
                    <a:pt x="7975600" y="25398"/>
                  </a:lnTo>
                  <a:lnTo>
                    <a:pt x="7975600" y="50798"/>
                  </a:lnTo>
                  <a:lnTo>
                    <a:pt x="8001000" y="50798"/>
                  </a:lnTo>
                  <a:lnTo>
                    <a:pt x="8001000" y="25398"/>
                  </a:lnTo>
                  <a:close/>
                </a:path>
                <a:path w="11012170" h="76200">
                  <a:moveTo>
                    <a:pt x="8051800" y="25398"/>
                  </a:moveTo>
                  <a:lnTo>
                    <a:pt x="8026400" y="25398"/>
                  </a:lnTo>
                  <a:lnTo>
                    <a:pt x="8026400" y="50798"/>
                  </a:lnTo>
                  <a:lnTo>
                    <a:pt x="8051800" y="50798"/>
                  </a:lnTo>
                  <a:lnTo>
                    <a:pt x="8051800" y="25398"/>
                  </a:lnTo>
                  <a:close/>
                </a:path>
                <a:path w="11012170" h="76200">
                  <a:moveTo>
                    <a:pt x="8102600" y="25398"/>
                  </a:moveTo>
                  <a:lnTo>
                    <a:pt x="8077200" y="25398"/>
                  </a:lnTo>
                  <a:lnTo>
                    <a:pt x="8077200" y="50798"/>
                  </a:lnTo>
                  <a:lnTo>
                    <a:pt x="8102600" y="50798"/>
                  </a:lnTo>
                  <a:lnTo>
                    <a:pt x="8102600" y="25398"/>
                  </a:lnTo>
                  <a:close/>
                </a:path>
                <a:path w="11012170" h="76200">
                  <a:moveTo>
                    <a:pt x="8153400" y="25398"/>
                  </a:moveTo>
                  <a:lnTo>
                    <a:pt x="8128000" y="25398"/>
                  </a:lnTo>
                  <a:lnTo>
                    <a:pt x="8128000" y="50798"/>
                  </a:lnTo>
                  <a:lnTo>
                    <a:pt x="8153400" y="50798"/>
                  </a:lnTo>
                  <a:lnTo>
                    <a:pt x="8153400" y="25398"/>
                  </a:lnTo>
                  <a:close/>
                </a:path>
                <a:path w="11012170" h="76200">
                  <a:moveTo>
                    <a:pt x="8204200" y="25398"/>
                  </a:moveTo>
                  <a:lnTo>
                    <a:pt x="8178800" y="25398"/>
                  </a:lnTo>
                  <a:lnTo>
                    <a:pt x="8178800" y="50798"/>
                  </a:lnTo>
                  <a:lnTo>
                    <a:pt x="8204200" y="50798"/>
                  </a:lnTo>
                  <a:lnTo>
                    <a:pt x="8204200" y="25398"/>
                  </a:lnTo>
                  <a:close/>
                </a:path>
                <a:path w="11012170" h="76200">
                  <a:moveTo>
                    <a:pt x="8255000" y="25398"/>
                  </a:moveTo>
                  <a:lnTo>
                    <a:pt x="8229600" y="25398"/>
                  </a:lnTo>
                  <a:lnTo>
                    <a:pt x="8229600" y="50798"/>
                  </a:lnTo>
                  <a:lnTo>
                    <a:pt x="8255000" y="50798"/>
                  </a:lnTo>
                  <a:lnTo>
                    <a:pt x="8255000" y="25398"/>
                  </a:lnTo>
                  <a:close/>
                </a:path>
                <a:path w="11012170" h="76200">
                  <a:moveTo>
                    <a:pt x="8305800" y="25398"/>
                  </a:moveTo>
                  <a:lnTo>
                    <a:pt x="8280400" y="25398"/>
                  </a:lnTo>
                  <a:lnTo>
                    <a:pt x="8280400" y="50798"/>
                  </a:lnTo>
                  <a:lnTo>
                    <a:pt x="8305800" y="50798"/>
                  </a:lnTo>
                  <a:lnTo>
                    <a:pt x="8305800" y="25398"/>
                  </a:lnTo>
                  <a:close/>
                </a:path>
                <a:path w="11012170" h="76200">
                  <a:moveTo>
                    <a:pt x="8356600" y="25398"/>
                  </a:moveTo>
                  <a:lnTo>
                    <a:pt x="8331200" y="25398"/>
                  </a:lnTo>
                  <a:lnTo>
                    <a:pt x="8331200" y="50798"/>
                  </a:lnTo>
                  <a:lnTo>
                    <a:pt x="8356600" y="50798"/>
                  </a:lnTo>
                  <a:lnTo>
                    <a:pt x="8356600" y="25398"/>
                  </a:lnTo>
                  <a:close/>
                </a:path>
                <a:path w="11012170" h="76200">
                  <a:moveTo>
                    <a:pt x="8407400" y="25398"/>
                  </a:moveTo>
                  <a:lnTo>
                    <a:pt x="8382000" y="25398"/>
                  </a:lnTo>
                  <a:lnTo>
                    <a:pt x="8382000" y="50798"/>
                  </a:lnTo>
                  <a:lnTo>
                    <a:pt x="8407400" y="50798"/>
                  </a:lnTo>
                  <a:lnTo>
                    <a:pt x="8407400" y="25398"/>
                  </a:lnTo>
                  <a:close/>
                </a:path>
                <a:path w="11012170" h="76200">
                  <a:moveTo>
                    <a:pt x="8458200" y="25398"/>
                  </a:moveTo>
                  <a:lnTo>
                    <a:pt x="8432800" y="25398"/>
                  </a:lnTo>
                  <a:lnTo>
                    <a:pt x="8432800" y="50798"/>
                  </a:lnTo>
                  <a:lnTo>
                    <a:pt x="8458200" y="50798"/>
                  </a:lnTo>
                  <a:lnTo>
                    <a:pt x="8458200" y="25398"/>
                  </a:lnTo>
                  <a:close/>
                </a:path>
                <a:path w="11012170" h="76200">
                  <a:moveTo>
                    <a:pt x="8509000" y="25398"/>
                  </a:moveTo>
                  <a:lnTo>
                    <a:pt x="8483600" y="25398"/>
                  </a:lnTo>
                  <a:lnTo>
                    <a:pt x="8483600" y="50798"/>
                  </a:lnTo>
                  <a:lnTo>
                    <a:pt x="8509000" y="50798"/>
                  </a:lnTo>
                  <a:lnTo>
                    <a:pt x="8509000" y="25398"/>
                  </a:lnTo>
                  <a:close/>
                </a:path>
                <a:path w="11012170" h="76200">
                  <a:moveTo>
                    <a:pt x="8559800" y="25398"/>
                  </a:moveTo>
                  <a:lnTo>
                    <a:pt x="8534400" y="25398"/>
                  </a:lnTo>
                  <a:lnTo>
                    <a:pt x="8534400" y="50798"/>
                  </a:lnTo>
                  <a:lnTo>
                    <a:pt x="8559800" y="50798"/>
                  </a:lnTo>
                  <a:lnTo>
                    <a:pt x="8559800" y="25398"/>
                  </a:lnTo>
                  <a:close/>
                </a:path>
                <a:path w="11012170" h="76200">
                  <a:moveTo>
                    <a:pt x="8610600" y="25398"/>
                  </a:moveTo>
                  <a:lnTo>
                    <a:pt x="8585200" y="25398"/>
                  </a:lnTo>
                  <a:lnTo>
                    <a:pt x="8585200" y="50798"/>
                  </a:lnTo>
                  <a:lnTo>
                    <a:pt x="8610600" y="50798"/>
                  </a:lnTo>
                  <a:lnTo>
                    <a:pt x="8610600" y="25398"/>
                  </a:lnTo>
                  <a:close/>
                </a:path>
                <a:path w="11012170" h="76200">
                  <a:moveTo>
                    <a:pt x="8661400" y="25398"/>
                  </a:moveTo>
                  <a:lnTo>
                    <a:pt x="8636000" y="25398"/>
                  </a:lnTo>
                  <a:lnTo>
                    <a:pt x="8636000" y="50798"/>
                  </a:lnTo>
                  <a:lnTo>
                    <a:pt x="8661400" y="50798"/>
                  </a:lnTo>
                  <a:lnTo>
                    <a:pt x="8661400" y="25398"/>
                  </a:lnTo>
                  <a:close/>
                </a:path>
                <a:path w="11012170" h="76200">
                  <a:moveTo>
                    <a:pt x="8712200" y="25398"/>
                  </a:moveTo>
                  <a:lnTo>
                    <a:pt x="8686800" y="25398"/>
                  </a:lnTo>
                  <a:lnTo>
                    <a:pt x="8686800" y="50798"/>
                  </a:lnTo>
                  <a:lnTo>
                    <a:pt x="8712200" y="50798"/>
                  </a:lnTo>
                  <a:lnTo>
                    <a:pt x="8712200" y="25398"/>
                  </a:lnTo>
                  <a:close/>
                </a:path>
                <a:path w="11012170" h="76200">
                  <a:moveTo>
                    <a:pt x="8763000" y="25398"/>
                  </a:moveTo>
                  <a:lnTo>
                    <a:pt x="8737600" y="25398"/>
                  </a:lnTo>
                  <a:lnTo>
                    <a:pt x="8737600" y="50798"/>
                  </a:lnTo>
                  <a:lnTo>
                    <a:pt x="8763000" y="50798"/>
                  </a:lnTo>
                  <a:lnTo>
                    <a:pt x="8763000" y="25398"/>
                  </a:lnTo>
                  <a:close/>
                </a:path>
                <a:path w="11012170" h="76200">
                  <a:moveTo>
                    <a:pt x="8813800" y="25398"/>
                  </a:moveTo>
                  <a:lnTo>
                    <a:pt x="8788400" y="25398"/>
                  </a:lnTo>
                  <a:lnTo>
                    <a:pt x="8788400" y="50798"/>
                  </a:lnTo>
                  <a:lnTo>
                    <a:pt x="8813800" y="50798"/>
                  </a:lnTo>
                  <a:lnTo>
                    <a:pt x="8813800" y="25398"/>
                  </a:lnTo>
                  <a:close/>
                </a:path>
                <a:path w="11012170" h="76200">
                  <a:moveTo>
                    <a:pt x="8864600" y="25398"/>
                  </a:moveTo>
                  <a:lnTo>
                    <a:pt x="8839200" y="25398"/>
                  </a:lnTo>
                  <a:lnTo>
                    <a:pt x="8839200" y="50798"/>
                  </a:lnTo>
                  <a:lnTo>
                    <a:pt x="8864600" y="50798"/>
                  </a:lnTo>
                  <a:lnTo>
                    <a:pt x="8864600" y="25398"/>
                  </a:lnTo>
                  <a:close/>
                </a:path>
                <a:path w="11012170" h="76200">
                  <a:moveTo>
                    <a:pt x="8915400" y="25398"/>
                  </a:moveTo>
                  <a:lnTo>
                    <a:pt x="8890000" y="25398"/>
                  </a:lnTo>
                  <a:lnTo>
                    <a:pt x="8890000" y="50798"/>
                  </a:lnTo>
                  <a:lnTo>
                    <a:pt x="8915400" y="50798"/>
                  </a:lnTo>
                  <a:lnTo>
                    <a:pt x="8915400" y="25398"/>
                  </a:lnTo>
                  <a:close/>
                </a:path>
                <a:path w="11012170" h="76200">
                  <a:moveTo>
                    <a:pt x="8966200" y="25398"/>
                  </a:moveTo>
                  <a:lnTo>
                    <a:pt x="8940800" y="25398"/>
                  </a:lnTo>
                  <a:lnTo>
                    <a:pt x="8940800" y="50798"/>
                  </a:lnTo>
                  <a:lnTo>
                    <a:pt x="8966200" y="50798"/>
                  </a:lnTo>
                  <a:lnTo>
                    <a:pt x="8966200" y="25398"/>
                  </a:lnTo>
                  <a:close/>
                </a:path>
                <a:path w="11012170" h="76200">
                  <a:moveTo>
                    <a:pt x="9017000" y="25398"/>
                  </a:moveTo>
                  <a:lnTo>
                    <a:pt x="8991600" y="25398"/>
                  </a:lnTo>
                  <a:lnTo>
                    <a:pt x="8991600" y="50798"/>
                  </a:lnTo>
                  <a:lnTo>
                    <a:pt x="9017000" y="50798"/>
                  </a:lnTo>
                  <a:lnTo>
                    <a:pt x="9017000" y="25398"/>
                  </a:lnTo>
                  <a:close/>
                </a:path>
                <a:path w="11012170" h="76200">
                  <a:moveTo>
                    <a:pt x="9067800" y="25398"/>
                  </a:moveTo>
                  <a:lnTo>
                    <a:pt x="9042400" y="25398"/>
                  </a:lnTo>
                  <a:lnTo>
                    <a:pt x="9042400" y="50798"/>
                  </a:lnTo>
                  <a:lnTo>
                    <a:pt x="9067800" y="50798"/>
                  </a:lnTo>
                  <a:lnTo>
                    <a:pt x="9067800" y="25398"/>
                  </a:lnTo>
                  <a:close/>
                </a:path>
                <a:path w="11012170" h="76200">
                  <a:moveTo>
                    <a:pt x="9118600" y="25398"/>
                  </a:moveTo>
                  <a:lnTo>
                    <a:pt x="9093200" y="25398"/>
                  </a:lnTo>
                  <a:lnTo>
                    <a:pt x="9093200" y="50798"/>
                  </a:lnTo>
                  <a:lnTo>
                    <a:pt x="9118600" y="50798"/>
                  </a:lnTo>
                  <a:lnTo>
                    <a:pt x="9118600" y="25398"/>
                  </a:lnTo>
                  <a:close/>
                </a:path>
                <a:path w="11012170" h="76200">
                  <a:moveTo>
                    <a:pt x="9169400" y="25398"/>
                  </a:moveTo>
                  <a:lnTo>
                    <a:pt x="9144000" y="25398"/>
                  </a:lnTo>
                  <a:lnTo>
                    <a:pt x="9144000" y="50798"/>
                  </a:lnTo>
                  <a:lnTo>
                    <a:pt x="9169400" y="50798"/>
                  </a:lnTo>
                  <a:lnTo>
                    <a:pt x="9169400" y="25398"/>
                  </a:lnTo>
                  <a:close/>
                </a:path>
                <a:path w="11012170" h="76200">
                  <a:moveTo>
                    <a:pt x="9220200" y="25398"/>
                  </a:moveTo>
                  <a:lnTo>
                    <a:pt x="9194800" y="25398"/>
                  </a:lnTo>
                  <a:lnTo>
                    <a:pt x="9194800" y="50798"/>
                  </a:lnTo>
                  <a:lnTo>
                    <a:pt x="9220200" y="50798"/>
                  </a:lnTo>
                  <a:lnTo>
                    <a:pt x="9220200" y="25398"/>
                  </a:lnTo>
                  <a:close/>
                </a:path>
                <a:path w="11012170" h="76200">
                  <a:moveTo>
                    <a:pt x="9271000" y="25398"/>
                  </a:moveTo>
                  <a:lnTo>
                    <a:pt x="9245600" y="25398"/>
                  </a:lnTo>
                  <a:lnTo>
                    <a:pt x="9245600" y="50798"/>
                  </a:lnTo>
                  <a:lnTo>
                    <a:pt x="9271000" y="50798"/>
                  </a:lnTo>
                  <a:lnTo>
                    <a:pt x="9271000" y="25398"/>
                  </a:lnTo>
                  <a:close/>
                </a:path>
                <a:path w="11012170" h="76200">
                  <a:moveTo>
                    <a:pt x="9321800" y="25398"/>
                  </a:moveTo>
                  <a:lnTo>
                    <a:pt x="9296400" y="25398"/>
                  </a:lnTo>
                  <a:lnTo>
                    <a:pt x="9296400" y="50798"/>
                  </a:lnTo>
                  <a:lnTo>
                    <a:pt x="9321800" y="50798"/>
                  </a:lnTo>
                  <a:lnTo>
                    <a:pt x="9321800" y="25398"/>
                  </a:lnTo>
                  <a:close/>
                </a:path>
                <a:path w="11012170" h="76200">
                  <a:moveTo>
                    <a:pt x="9372600" y="25398"/>
                  </a:moveTo>
                  <a:lnTo>
                    <a:pt x="9347200" y="25398"/>
                  </a:lnTo>
                  <a:lnTo>
                    <a:pt x="9347200" y="50798"/>
                  </a:lnTo>
                  <a:lnTo>
                    <a:pt x="9372600" y="50798"/>
                  </a:lnTo>
                  <a:lnTo>
                    <a:pt x="9372600" y="25398"/>
                  </a:lnTo>
                  <a:close/>
                </a:path>
                <a:path w="11012170" h="76200">
                  <a:moveTo>
                    <a:pt x="9423400" y="25398"/>
                  </a:moveTo>
                  <a:lnTo>
                    <a:pt x="9398000" y="25398"/>
                  </a:lnTo>
                  <a:lnTo>
                    <a:pt x="9398000" y="50798"/>
                  </a:lnTo>
                  <a:lnTo>
                    <a:pt x="9423400" y="50798"/>
                  </a:lnTo>
                  <a:lnTo>
                    <a:pt x="9423400" y="25398"/>
                  </a:lnTo>
                  <a:close/>
                </a:path>
                <a:path w="11012170" h="76200">
                  <a:moveTo>
                    <a:pt x="9474200" y="25398"/>
                  </a:moveTo>
                  <a:lnTo>
                    <a:pt x="9448800" y="25398"/>
                  </a:lnTo>
                  <a:lnTo>
                    <a:pt x="9448800" y="50798"/>
                  </a:lnTo>
                  <a:lnTo>
                    <a:pt x="9474200" y="50798"/>
                  </a:lnTo>
                  <a:lnTo>
                    <a:pt x="9474200" y="25398"/>
                  </a:lnTo>
                  <a:close/>
                </a:path>
                <a:path w="11012170" h="76200">
                  <a:moveTo>
                    <a:pt x="9525000" y="25398"/>
                  </a:moveTo>
                  <a:lnTo>
                    <a:pt x="9499600" y="25398"/>
                  </a:lnTo>
                  <a:lnTo>
                    <a:pt x="9499600" y="50798"/>
                  </a:lnTo>
                  <a:lnTo>
                    <a:pt x="9525000" y="50798"/>
                  </a:lnTo>
                  <a:lnTo>
                    <a:pt x="9525000" y="25398"/>
                  </a:lnTo>
                  <a:close/>
                </a:path>
                <a:path w="11012170" h="76200">
                  <a:moveTo>
                    <a:pt x="9575800" y="25398"/>
                  </a:moveTo>
                  <a:lnTo>
                    <a:pt x="9550400" y="25398"/>
                  </a:lnTo>
                  <a:lnTo>
                    <a:pt x="9550400" y="50798"/>
                  </a:lnTo>
                  <a:lnTo>
                    <a:pt x="9575800" y="50798"/>
                  </a:lnTo>
                  <a:lnTo>
                    <a:pt x="9575800" y="25398"/>
                  </a:lnTo>
                  <a:close/>
                </a:path>
                <a:path w="11012170" h="76200">
                  <a:moveTo>
                    <a:pt x="9626600" y="25398"/>
                  </a:moveTo>
                  <a:lnTo>
                    <a:pt x="9601200" y="25398"/>
                  </a:lnTo>
                  <a:lnTo>
                    <a:pt x="9601200" y="50798"/>
                  </a:lnTo>
                  <a:lnTo>
                    <a:pt x="9626600" y="50798"/>
                  </a:lnTo>
                  <a:lnTo>
                    <a:pt x="9626600" y="25398"/>
                  </a:lnTo>
                  <a:close/>
                </a:path>
                <a:path w="11012170" h="76200">
                  <a:moveTo>
                    <a:pt x="9677400" y="25398"/>
                  </a:moveTo>
                  <a:lnTo>
                    <a:pt x="9652000" y="25398"/>
                  </a:lnTo>
                  <a:lnTo>
                    <a:pt x="9652000" y="50798"/>
                  </a:lnTo>
                  <a:lnTo>
                    <a:pt x="9677400" y="50798"/>
                  </a:lnTo>
                  <a:lnTo>
                    <a:pt x="9677400" y="25398"/>
                  </a:lnTo>
                  <a:close/>
                </a:path>
                <a:path w="11012170" h="76200">
                  <a:moveTo>
                    <a:pt x="9728200" y="25398"/>
                  </a:moveTo>
                  <a:lnTo>
                    <a:pt x="9702800" y="25398"/>
                  </a:lnTo>
                  <a:lnTo>
                    <a:pt x="9702800" y="50798"/>
                  </a:lnTo>
                  <a:lnTo>
                    <a:pt x="9728200" y="50798"/>
                  </a:lnTo>
                  <a:lnTo>
                    <a:pt x="9728200" y="25398"/>
                  </a:lnTo>
                  <a:close/>
                </a:path>
                <a:path w="11012170" h="76200">
                  <a:moveTo>
                    <a:pt x="9779000" y="25398"/>
                  </a:moveTo>
                  <a:lnTo>
                    <a:pt x="9753600" y="25398"/>
                  </a:lnTo>
                  <a:lnTo>
                    <a:pt x="9753600" y="50798"/>
                  </a:lnTo>
                  <a:lnTo>
                    <a:pt x="9779000" y="50798"/>
                  </a:lnTo>
                  <a:lnTo>
                    <a:pt x="9779000" y="25398"/>
                  </a:lnTo>
                  <a:close/>
                </a:path>
                <a:path w="11012170" h="76200">
                  <a:moveTo>
                    <a:pt x="9829800" y="25398"/>
                  </a:moveTo>
                  <a:lnTo>
                    <a:pt x="9804400" y="25398"/>
                  </a:lnTo>
                  <a:lnTo>
                    <a:pt x="9804400" y="50798"/>
                  </a:lnTo>
                  <a:lnTo>
                    <a:pt x="9829800" y="50798"/>
                  </a:lnTo>
                  <a:lnTo>
                    <a:pt x="9829800" y="25398"/>
                  </a:lnTo>
                  <a:close/>
                </a:path>
                <a:path w="11012170" h="76200">
                  <a:moveTo>
                    <a:pt x="9880600" y="25398"/>
                  </a:moveTo>
                  <a:lnTo>
                    <a:pt x="9855200" y="25398"/>
                  </a:lnTo>
                  <a:lnTo>
                    <a:pt x="9855200" y="50798"/>
                  </a:lnTo>
                  <a:lnTo>
                    <a:pt x="9880600" y="50798"/>
                  </a:lnTo>
                  <a:lnTo>
                    <a:pt x="9880600" y="25398"/>
                  </a:lnTo>
                  <a:close/>
                </a:path>
                <a:path w="11012170" h="76200">
                  <a:moveTo>
                    <a:pt x="9931400" y="25398"/>
                  </a:moveTo>
                  <a:lnTo>
                    <a:pt x="9906000" y="25398"/>
                  </a:lnTo>
                  <a:lnTo>
                    <a:pt x="9906000" y="50798"/>
                  </a:lnTo>
                  <a:lnTo>
                    <a:pt x="9931400" y="50798"/>
                  </a:lnTo>
                  <a:lnTo>
                    <a:pt x="9931400" y="25398"/>
                  </a:lnTo>
                  <a:close/>
                </a:path>
                <a:path w="11012170" h="76200">
                  <a:moveTo>
                    <a:pt x="9982200" y="25398"/>
                  </a:moveTo>
                  <a:lnTo>
                    <a:pt x="9956800" y="25398"/>
                  </a:lnTo>
                  <a:lnTo>
                    <a:pt x="9956800" y="50798"/>
                  </a:lnTo>
                  <a:lnTo>
                    <a:pt x="9982200" y="50798"/>
                  </a:lnTo>
                  <a:lnTo>
                    <a:pt x="9982200" y="25398"/>
                  </a:lnTo>
                  <a:close/>
                </a:path>
                <a:path w="11012170" h="76200">
                  <a:moveTo>
                    <a:pt x="10033000" y="25398"/>
                  </a:moveTo>
                  <a:lnTo>
                    <a:pt x="10007600" y="25398"/>
                  </a:lnTo>
                  <a:lnTo>
                    <a:pt x="10007600" y="50798"/>
                  </a:lnTo>
                  <a:lnTo>
                    <a:pt x="10033000" y="50798"/>
                  </a:lnTo>
                  <a:lnTo>
                    <a:pt x="10033000" y="25398"/>
                  </a:lnTo>
                  <a:close/>
                </a:path>
                <a:path w="11012170" h="76200">
                  <a:moveTo>
                    <a:pt x="10083800" y="25398"/>
                  </a:moveTo>
                  <a:lnTo>
                    <a:pt x="10058400" y="25398"/>
                  </a:lnTo>
                  <a:lnTo>
                    <a:pt x="10058400" y="50798"/>
                  </a:lnTo>
                  <a:lnTo>
                    <a:pt x="10083800" y="50798"/>
                  </a:lnTo>
                  <a:lnTo>
                    <a:pt x="10083800" y="25398"/>
                  </a:lnTo>
                  <a:close/>
                </a:path>
                <a:path w="11012170" h="76200">
                  <a:moveTo>
                    <a:pt x="10134600" y="25398"/>
                  </a:moveTo>
                  <a:lnTo>
                    <a:pt x="10109200" y="25398"/>
                  </a:lnTo>
                  <a:lnTo>
                    <a:pt x="10109200" y="50798"/>
                  </a:lnTo>
                  <a:lnTo>
                    <a:pt x="10134600" y="50798"/>
                  </a:lnTo>
                  <a:lnTo>
                    <a:pt x="10134600" y="25398"/>
                  </a:lnTo>
                  <a:close/>
                </a:path>
                <a:path w="11012170" h="76200">
                  <a:moveTo>
                    <a:pt x="10185400" y="25398"/>
                  </a:moveTo>
                  <a:lnTo>
                    <a:pt x="10160000" y="25398"/>
                  </a:lnTo>
                  <a:lnTo>
                    <a:pt x="10160000" y="50798"/>
                  </a:lnTo>
                  <a:lnTo>
                    <a:pt x="10185400" y="50798"/>
                  </a:lnTo>
                  <a:lnTo>
                    <a:pt x="10185400" y="25398"/>
                  </a:lnTo>
                  <a:close/>
                </a:path>
                <a:path w="11012170" h="76200">
                  <a:moveTo>
                    <a:pt x="10236200" y="25398"/>
                  </a:moveTo>
                  <a:lnTo>
                    <a:pt x="10210800" y="25398"/>
                  </a:lnTo>
                  <a:lnTo>
                    <a:pt x="10210800" y="50798"/>
                  </a:lnTo>
                  <a:lnTo>
                    <a:pt x="10236200" y="50798"/>
                  </a:lnTo>
                  <a:lnTo>
                    <a:pt x="10236200" y="25398"/>
                  </a:lnTo>
                  <a:close/>
                </a:path>
                <a:path w="11012170" h="76200">
                  <a:moveTo>
                    <a:pt x="10287000" y="25398"/>
                  </a:moveTo>
                  <a:lnTo>
                    <a:pt x="10261600" y="25398"/>
                  </a:lnTo>
                  <a:lnTo>
                    <a:pt x="10261600" y="50798"/>
                  </a:lnTo>
                  <a:lnTo>
                    <a:pt x="10287000" y="50798"/>
                  </a:lnTo>
                  <a:lnTo>
                    <a:pt x="10287000" y="25398"/>
                  </a:lnTo>
                  <a:close/>
                </a:path>
                <a:path w="11012170" h="76200">
                  <a:moveTo>
                    <a:pt x="10337800" y="25398"/>
                  </a:moveTo>
                  <a:lnTo>
                    <a:pt x="10312400" y="25398"/>
                  </a:lnTo>
                  <a:lnTo>
                    <a:pt x="10312400" y="50798"/>
                  </a:lnTo>
                  <a:lnTo>
                    <a:pt x="10337800" y="50798"/>
                  </a:lnTo>
                  <a:lnTo>
                    <a:pt x="10337800" y="25398"/>
                  </a:lnTo>
                  <a:close/>
                </a:path>
                <a:path w="11012170" h="76200">
                  <a:moveTo>
                    <a:pt x="10388600" y="25398"/>
                  </a:moveTo>
                  <a:lnTo>
                    <a:pt x="10363200" y="25398"/>
                  </a:lnTo>
                  <a:lnTo>
                    <a:pt x="10363200" y="50798"/>
                  </a:lnTo>
                  <a:lnTo>
                    <a:pt x="10388600" y="50798"/>
                  </a:lnTo>
                  <a:lnTo>
                    <a:pt x="10388600" y="25398"/>
                  </a:lnTo>
                  <a:close/>
                </a:path>
                <a:path w="11012170" h="76200">
                  <a:moveTo>
                    <a:pt x="10439400" y="25400"/>
                  </a:moveTo>
                  <a:lnTo>
                    <a:pt x="10414000" y="25400"/>
                  </a:lnTo>
                  <a:lnTo>
                    <a:pt x="10414000" y="50800"/>
                  </a:lnTo>
                  <a:lnTo>
                    <a:pt x="10439400" y="50800"/>
                  </a:lnTo>
                  <a:lnTo>
                    <a:pt x="10439400" y="25400"/>
                  </a:lnTo>
                  <a:close/>
                </a:path>
                <a:path w="11012170" h="76200">
                  <a:moveTo>
                    <a:pt x="10490200" y="25400"/>
                  </a:moveTo>
                  <a:lnTo>
                    <a:pt x="10464800" y="25400"/>
                  </a:lnTo>
                  <a:lnTo>
                    <a:pt x="10464800" y="50800"/>
                  </a:lnTo>
                  <a:lnTo>
                    <a:pt x="10490200" y="50800"/>
                  </a:lnTo>
                  <a:lnTo>
                    <a:pt x="10490200" y="25400"/>
                  </a:lnTo>
                  <a:close/>
                </a:path>
                <a:path w="11012170" h="76200">
                  <a:moveTo>
                    <a:pt x="10541000" y="25400"/>
                  </a:moveTo>
                  <a:lnTo>
                    <a:pt x="10515600" y="25400"/>
                  </a:lnTo>
                  <a:lnTo>
                    <a:pt x="10515600" y="50800"/>
                  </a:lnTo>
                  <a:lnTo>
                    <a:pt x="10541000" y="50800"/>
                  </a:lnTo>
                  <a:lnTo>
                    <a:pt x="10541000" y="25400"/>
                  </a:lnTo>
                  <a:close/>
                </a:path>
                <a:path w="11012170" h="76200">
                  <a:moveTo>
                    <a:pt x="10591800" y="25400"/>
                  </a:moveTo>
                  <a:lnTo>
                    <a:pt x="10566400" y="25400"/>
                  </a:lnTo>
                  <a:lnTo>
                    <a:pt x="10566400" y="50800"/>
                  </a:lnTo>
                  <a:lnTo>
                    <a:pt x="10591800" y="50800"/>
                  </a:lnTo>
                  <a:lnTo>
                    <a:pt x="10591800" y="25400"/>
                  </a:lnTo>
                  <a:close/>
                </a:path>
                <a:path w="11012170" h="76200">
                  <a:moveTo>
                    <a:pt x="10642600" y="25400"/>
                  </a:moveTo>
                  <a:lnTo>
                    <a:pt x="10617200" y="25400"/>
                  </a:lnTo>
                  <a:lnTo>
                    <a:pt x="10617200" y="50800"/>
                  </a:lnTo>
                  <a:lnTo>
                    <a:pt x="10642600" y="50800"/>
                  </a:lnTo>
                  <a:lnTo>
                    <a:pt x="10642600" y="25400"/>
                  </a:lnTo>
                  <a:close/>
                </a:path>
                <a:path w="11012170" h="76200">
                  <a:moveTo>
                    <a:pt x="10693400" y="25400"/>
                  </a:moveTo>
                  <a:lnTo>
                    <a:pt x="10668000" y="25400"/>
                  </a:lnTo>
                  <a:lnTo>
                    <a:pt x="10668000" y="50800"/>
                  </a:lnTo>
                  <a:lnTo>
                    <a:pt x="10693400" y="50800"/>
                  </a:lnTo>
                  <a:lnTo>
                    <a:pt x="10693400" y="25400"/>
                  </a:lnTo>
                  <a:close/>
                </a:path>
                <a:path w="11012170" h="76200">
                  <a:moveTo>
                    <a:pt x="10744200" y="25400"/>
                  </a:moveTo>
                  <a:lnTo>
                    <a:pt x="10718800" y="25400"/>
                  </a:lnTo>
                  <a:lnTo>
                    <a:pt x="10718800" y="50800"/>
                  </a:lnTo>
                  <a:lnTo>
                    <a:pt x="10744200" y="50800"/>
                  </a:lnTo>
                  <a:lnTo>
                    <a:pt x="10744200" y="25400"/>
                  </a:lnTo>
                  <a:close/>
                </a:path>
                <a:path w="11012170" h="76200">
                  <a:moveTo>
                    <a:pt x="10795000" y="25400"/>
                  </a:moveTo>
                  <a:lnTo>
                    <a:pt x="10769600" y="25400"/>
                  </a:lnTo>
                  <a:lnTo>
                    <a:pt x="10769600" y="50800"/>
                  </a:lnTo>
                  <a:lnTo>
                    <a:pt x="10795000" y="50800"/>
                  </a:lnTo>
                  <a:lnTo>
                    <a:pt x="10795000" y="25400"/>
                  </a:lnTo>
                  <a:close/>
                </a:path>
                <a:path w="11012170" h="76200">
                  <a:moveTo>
                    <a:pt x="10845800" y="25400"/>
                  </a:moveTo>
                  <a:lnTo>
                    <a:pt x="10820400" y="25400"/>
                  </a:lnTo>
                  <a:lnTo>
                    <a:pt x="10820400" y="50800"/>
                  </a:lnTo>
                  <a:lnTo>
                    <a:pt x="10845800" y="50800"/>
                  </a:lnTo>
                  <a:lnTo>
                    <a:pt x="10845800" y="25400"/>
                  </a:lnTo>
                  <a:close/>
                </a:path>
                <a:path w="11012170" h="76200">
                  <a:moveTo>
                    <a:pt x="10896600" y="25400"/>
                  </a:moveTo>
                  <a:lnTo>
                    <a:pt x="10871200" y="25400"/>
                  </a:lnTo>
                  <a:lnTo>
                    <a:pt x="10871200" y="50800"/>
                  </a:lnTo>
                  <a:lnTo>
                    <a:pt x="10896600" y="50800"/>
                  </a:lnTo>
                  <a:lnTo>
                    <a:pt x="10896600" y="25400"/>
                  </a:lnTo>
                  <a:close/>
                </a:path>
                <a:path w="11012170" h="76200">
                  <a:moveTo>
                    <a:pt x="10935403" y="0"/>
                  </a:moveTo>
                  <a:lnTo>
                    <a:pt x="10935403" y="76200"/>
                  </a:lnTo>
                  <a:lnTo>
                    <a:pt x="10986203" y="50800"/>
                  </a:lnTo>
                  <a:lnTo>
                    <a:pt x="10947400" y="50800"/>
                  </a:lnTo>
                  <a:lnTo>
                    <a:pt x="10947400" y="25400"/>
                  </a:lnTo>
                  <a:lnTo>
                    <a:pt x="10986203" y="25400"/>
                  </a:lnTo>
                  <a:lnTo>
                    <a:pt x="10935403" y="0"/>
                  </a:lnTo>
                  <a:close/>
                </a:path>
                <a:path w="11012170" h="76200">
                  <a:moveTo>
                    <a:pt x="10935403" y="25400"/>
                  </a:moveTo>
                  <a:lnTo>
                    <a:pt x="10922000" y="25400"/>
                  </a:lnTo>
                  <a:lnTo>
                    <a:pt x="10922000" y="50800"/>
                  </a:lnTo>
                  <a:lnTo>
                    <a:pt x="10935403" y="50800"/>
                  </a:lnTo>
                  <a:lnTo>
                    <a:pt x="10935403" y="25400"/>
                  </a:lnTo>
                  <a:close/>
                </a:path>
                <a:path w="11012170" h="76200">
                  <a:moveTo>
                    <a:pt x="10986203" y="25400"/>
                  </a:moveTo>
                  <a:lnTo>
                    <a:pt x="10947400" y="25400"/>
                  </a:lnTo>
                  <a:lnTo>
                    <a:pt x="10947400" y="50800"/>
                  </a:lnTo>
                  <a:lnTo>
                    <a:pt x="10986203" y="50800"/>
                  </a:lnTo>
                  <a:lnTo>
                    <a:pt x="11011603" y="38100"/>
                  </a:lnTo>
                  <a:lnTo>
                    <a:pt x="10986203" y="25400"/>
                  </a:lnTo>
                  <a:close/>
                </a:path>
              </a:pathLst>
            </a:custGeom>
            <a:solidFill>
              <a:srgbClr val="6D6E7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9716366" y="2954947"/>
              <a:ext cx="0" cy="262255"/>
            </a:xfrm>
            <a:custGeom>
              <a:avLst/>
              <a:gdLst/>
              <a:ahLst/>
              <a:cxnLst/>
              <a:rect l="l" t="t" r="r" b="b"/>
              <a:pathLst>
                <a:path h="262255">
                  <a:moveTo>
                    <a:pt x="0" y="0"/>
                  </a:moveTo>
                  <a:lnTo>
                    <a:pt x="1" y="261676"/>
                  </a:lnTo>
                </a:path>
              </a:pathLst>
            </a:custGeom>
            <a:ln w="25400">
              <a:solidFill>
                <a:srgbClr val="7F7F7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" name="object 8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536365" y="3237838"/>
              <a:ext cx="360000" cy="360000"/>
            </a:xfrm>
            <a:prstGeom prst="rect">
              <a:avLst/>
            </a:prstGeom>
          </p:spPr>
        </p:pic>
        <p:sp>
          <p:nvSpPr>
            <p:cNvPr id="9" name="object 9"/>
            <p:cNvSpPr/>
            <p:nvPr/>
          </p:nvSpPr>
          <p:spPr>
            <a:xfrm>
              <a:off x="6009909" y="2954947"/>
              <a:ext cx="0" cy="262255"/>
            </a:xfrm>
            <a:custGeom>
              <a:avLst/>
              <a:gdLst/>
              <a:ahLst/>
              <a:cxnLst/>
              <a:rect l="l" t="t" r="r" b="b"/>
              <a:pathLst>
                <a:path h="262255">
                  <a:moveTo>
                    <a:pt x="0" y="0"/>
                  </a:moveTo>
                  <a:lnTo>
                    <a:pt x="1" y="261676"/>
                  </a:lnTo>
                </a:path>
              </a:pathLst>
            </a:custGeom>
            <a:ln w="25400">
              <a:solidFill>
                <a:srgbClr val="7F7F7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0" name="object 10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829908" y="3237838"/>
              <a:ext cx="360000" cy="360000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041225" y="3237838"/>
              <a:ext cx="360000" cy="360000"/>
            </a:xfrm>
            <a:prstGeom prst="rect">
              <a:avLst/>
            </a:prstGeom>
          </p:spPr>
        </p:pic>
        <p:sp>
          <p:nvSpPr>
            <p:cNvPr id="12" name="object 12"/>
            <p:cNvSpPr/>
            <p:nvPr/>
          </p:nvSpPr>
          <p:spPr>
            <a:xfrm>
              <a:off x="4569908" y="1819833"/>
              <a:ext cx="2880360" cy="1132205"/>
            </a:xfrm>
            <a:custGeom>
              <a:avLst/>
              <a:gdLst/>
              <a:ahLst/>
              <a:cxnLst/>
              <a:rect l="l" t="t" r="r" b="b"/>
              <a:pathLst>
                <a:path w="2880359" h="1132205">
                  <a:moveTo>
                    <a:pt x="0" y="93612"/>
                  </a:moveTo>
                  <a:lnTo>
                    <a:pt x="7356" y="57174"/>
                  </a:lnTo>
                  <a:lnTo>
                    <a:pt x="27418" y="27418"/>
                  </a:lnTo>
                  <a:lnTo>
                    <a:pt x="57174" y="7356"/>
                  </a:lnTo>
                  <a:lnTo>
                    <a:pt x="93612" y="0"/>
                  </a:lnTo>
                  <a:lnTo>
                    <a:pt x="2786387" y="0"/>
                  </a:lnTo>
                  <a:lnTo>
                    <a:pt x="2822825" y="7356"/>
                  </a:lnTo>
                  <a:lnTo>
                    <a:pt x="2852581" y="27418"/>
                  </a:lnTo>
                  <a:lnTo>
                    <a:pt x="2872643" y="57174"/>
                  </a:lnTo>
                  <a:lnTo>
                    <a:pt x="2880000" y="93612"/>
                  </a:lnTo>
                  <a:lnTo>
                    <a:pt x="2880000" y="1038063"/>
                  </a:lnTo>
                  <a:lnTo>
                    <a:pt x="2872643" y="1074501"/>
                  </a:lnTo>
                  <a:lnTo>
                    <a:pt x="2852581" y="1104257"/>
                  </a:lnTo>
                  <a:lnTo>
                    <a:pt x="2822825" y="1124319"/>
                  </a:lnTo>
                  <a:lnTo>
                    <a:pt x="2786387" y="1131676"/>
                  </a:lnTo>
                  <a:lnTo>
                    <a:pt x="93612" y="1131676"/>
                  </a:lnTo>
                  <a:lnTo>
                    <a:pt x="57174" y="1124319"/>
                  </a:lnTo>
                  <a:lnTo>
                    <a:pt x="27418" y="1104257"/>
                  </a:lnTo>
                  <a:lnTo>
                    <a:pt x="7356" y="1074501"/>
                  </a:lnTo>
                  <a:lnTo>
                    <a:pt x="0" y="1038063"/>
                  </a:lnTo>
                  <a:lnTo>
                    <a:pt x="0" y="93612"/>
                  </a:lnTo>
                  <a:close/>
                </a:path>
              </a:pathLst>
            </a:custGeom>
            <a:ln w="12700">
              <a:solidFill>
                <a:srgbClr val="D9D9D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3" name="object 1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372476" y="3852325"/>
            <a:ext cx="114300" cy="127000"/>
          </a:xfrm>
          <a:prstGeom prst="rect">
            <a:avLst/>
          </a:prstGeom>
        </p:spPr>
      </p:pic>
      <p:sp>
        <p:nvSpPr>
          <p:cNvPr id="14" name="object 14"/>
          <p:cNvSpPr txBox="1"/>
          <p:nvPr/>
        </p:nvSpPr>
        <p:spPr>
          <a:xfrm>
            <a:off x="4644255" y="3802379"/>
            <a:ext cx="2995295" cy="1430655"/>
          </a:xfrm>
          <a:prstGeom prst="rect">
            <a:avLst/>
          </a:prstGeom>
        </p:spPr>
        <p:txBody>
          <a:bodyPr vert="horz" wrap="square" lIns="0" tIns="29845" rIns="0" bIns="0" rtlCol="0">
            <a:spAutoFit/>
          </a:bodyPr>
          <a:lstStyle/>
          <a:p>
            <a:pPr marL="13970" marR="36195">
              <a:lnSpc>
                <a:spcPts val="1580"/>
              </a:lnSpc>
              <a:spcBef>
                <a:spcPts val="235"/>
              </a:spcBef>
            </a:pP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Проверить модель 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кассы в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списке 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с </a:t>
            </a:r>
            <a:r>
              <a:rPr sz="1400" spc="-37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планируемой</a:t>
            </a:r>
            <a:r>
              <a:rPr sz="1400" spc="-10" dirty="0">
                <a:solidFill>
                  <a:srgbClr val="6D6E71"/>
                </a:solidFill>
                <a:latin typeface="Segoe UI"/>
                <a:cs typeface="Segoe UI"/>
              </a:rPr>
              <a:t> поддержкой ФФД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1.2</a:t>
            </a:r>
            <a:endParaRPr sz="1400">
              <a:latin typeface="Segoe UI"/>
              <a:cs typeface="Segoe UI"/>
            </a:endParaRPr>
          </a:p>
          <a:p>
            <a:pPr marL="12700" marR="209550" indent="1270">
              <a:lnSpc>
                <a:spcPts val="2210"/>
              </a:lnSpc>
              <a:spcBef>
                <a:spcPts val="130"/>
              </a:spcBef>
            </a:pP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Список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 касс </a:t>
            </a:r>
            <a:r>
              <a:rPr sz="1400" spc="-10" dirty="0">
                <a:solidFill>
                  <a:srgbClr val="6D6E71"/>
                </a:solidFill>
                <a:latin typeface="Segoe UI"/>
                <a:cs typeface="Segoe UI"/>
              </a:rPr>
              <a:t>расположен</a:t>
            </a:r>
            <a:r>
              <a:rPr sz="14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в: 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Письме</a:t>
            </a:r>
            <a:r>
              <a:rPr sz="14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ФНС</a:t>
            </a:r>
            <a:r>
              <a:rPr sz="1400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10" dirty="0">
                <a:solidFill>
                  <a:srgbClr val="6D6E71"/>
                </a:solidFill>
                <a:latin typeface="Segoe UI"/>
                <a:cs typeface="Segoe UI"/>
              </a:rPr>
              <a:t>России </a:t>
            </a:r>
            <a:r>
              <a:rPr sz="1400" spc="-15" dirty="0">
                <a:solidFill>
                  <a:srgbClr val="6D6E71"/>
                </a:solidFill>
                <a:latin typeface="Segoe UI"/>
                <a:cs typeface="Segoe UI"/>
              </a:rPr>
              <a:t>от </a:t>
            </a:r>
            <a:r>
              <a:rPr sz="1400" spc="-10" dirty="0">
                <a:solidFill>
                  <a:srgbClr val="6D6E71"/>
                </a:solidFill>
                <a:latin typeface="Segoe UI"/>
                <a:cs typeface="Segoe UI"/>
              </a:rPr>
              <a:t>09.07.2021</a:t>
            </a:r>
            <a:endParaRPr sz="1400">
              <a:latin typeface="Segoe UI"/>
              <a:cs typeface="Segoe UI"/>
            </a:endParaRPr>
          </a:p>
          <a:p>
            <a:pPr marL="12700">
              <a:lnSpc>
                <a:spcPts val="1540"/>
              </a:lnSpc>
            </a:pP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NАБ-4-20/9702@</a:t>
            </a:r>
            <a:r>
              <a:rPr sz="1400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"О</a:t>
            </a:r>
            <a:r>
              <a:rPr sz="1400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переходе</a:t>
            </a:r>
            <a:r>
              <a:rPr sz="14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ККТ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endParaRPr sz="140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</a:pP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ФН</a:t>
            </a:r>
            <a:r>
              <a:rPr sz="14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на</a:t>
            </a:r>
            <a:r>
              <a:rPr sz="1400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10" dirty="0">
                <a:solidFill>
                  <a:srgbClr val="6D6E71"/>
                </a:solidFill>
                <a:latin typeface="Segoe UI"/>
                <a:cs typeface="Segoe UI"/>
              </a:rPr>
              <a:t>ФФД</a:t>
            </a:r>
            <a:r>
              <a:rPr sz="1400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1.2"</a:t>
            </a:r>
            <a:endParaRPr sz="1400">
              <a:latin typeface="Segoe UI"/>
              <a:cs typeface="Segoe UI"/>
            </a:endParaRPr>
          </a:p>
        </p:txBody>
      </p:sp>
      <p:pic>
        <p:nvPicPr>
          <p:cNvPr id="15" name="object 1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372476" y="4334925"/>
            <a:ext cx="114300" cy="127000"/>
          </a:xfrm>
          <a:prstGeom prst="rect">
            <a:avLst/>
          </a:prstGeom>
        </p:spPr>
      </p:pic>
      <p:pic>
        <p:nvPicPr>
          <p:cNvPr id="16" name="object 1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8170372" y="3886241"/>
            <a:ext cx="114300" cy="127000"/>
          </a:xfrm>
          <a:prstGeom prst="rect">
            <a:avLst/>
          </a:prstGeom>
        </p:spPr>
      </p:pic>
      <p:sp>
        <p:nvSpPr>
          <p:cNvPr id="17" name="object 17"/>
          <p:cNvSpPr txBox="1"/>
          <p:nvPr/>
        </p:nvSpPr>
        <p:spPr>
          <a:xfrm>
            <a:off x="8443422" y="3835908"/>
            <a:ext cx="2436495" cy="65659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 marR="5080" algn="just">
              <a:lnSpc>
                <a:spcPct val="97900"/>
              </a:lnSpc>
              <a:spcBef>
                <a:spcPts val="135"/>
              </a:spcBef>
            </a:pPr>
            <a:r>
              <a:rPr sz="1400" spc="-20" dirty="0">
                <a:solidFill>
                  <a:srgbClr val="6D6E71"/>
                </a:solidFill>
                <a:latin typeface="Segoe UI"/>
                <a:cs typeface="Segoe UI"/>
              </a:rPr>
              <a:t>Требуется 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приобрести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новую </a:t>
            </a:r>
            <a:r>
              <a:rPr sz="1400" spc="-37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кассу 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после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окончания 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срока </a:t>
            </a:r>
            <a:r>
              <a:rPr sz="1400" spc="-37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действия</a:t>
            </a:r>
            <a:r>
              <a:rPr sz="14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ФН</a:t>
            </a:r>
            <a:r>
              <a:rPr sz="14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1.05/1.1</a:t>
            </a:r>
            <a:endParaRPr sz="1400">
              <a:latin typeface="Segoe UI"/>
              <a:cs typeface="Segoe UI"/>
            </a:endParaRPr>
          </a:p>
        </p:txBody>
      </p:sp>
      <p:pic>
        <p:nvPicPr>
          <p:cNvPr id="18" name="object 1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64888" y="3950209"/>
            <a:ext cx="114300" cy="127000"/>
          </a:xfrm>
          <a:prstGeom prst="rect">
            <a:avLst/>
          </a:prstGeom>
        </p:spPr>
      </p:pic>
      <p:sp>
        <p:nvSpPr>
          <p:cNvPr id="19" name="object 19"/>
          <p:cNvSpPr txBox="1"/>
          <p:nvPr/>
        </p:nvSpPr>
        <p:spPr>
          <a:xfrm>
            <a:off x="937938" y="3899916"/>
            <a:ext cx="2614930" cy="65659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 marR="5080">
              <a:lnSpc>
                <a:spcPct val="97900"/>
              </a:lnSpc>
              <a:spcBef>
                <a:spcPts val="135"/>
              </a:spcBef>
            </a:pP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Необходимо обновить </a:t>
            </a:r>
            <a:r>
              <a:rPr sz="1400" dirty="0">
                <a:solidFill>
                  <a:srgbClr val="595959"/>
                </a:solidFill>
                <a:latin typeface="Segoe UI"/>
                <a:cs typeface="Segoe UI"/>
              </a:rPr>
              <a:t>кассу не </a:t>
            </a:r>
            <a:r>
              <a:rPr sz="1400" spc="-370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позднее 3х месяцев </a:t>
            </a:r>
            <a:r>
              <a:rPr sz="1400" dirty="0">
                <a:solidFill>
                  <a:srgbClr val="595959"/>
                </a:solidFill>
                <a:latin typeface="Segoe UI"/>
                <a:cs typeface="Segoe UI"/>
              </a:rPr>
              <a:t>с момента </a:t>
            </a:r>
            <a:r>
              <a:rPr sz="1400" spc="5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595959"/>
                </a:solidFill>
                <a:latin typeface="Segoe UI"/>
                <a:cs typeface="Segoe UI"/>
              </a:rPr>
              <a:t>включения</a:t>
            </a:r>
            <a:r>
              <a:rPr sz="1400" spc="-10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595959"/>
                </a:solidFill>
                <a:latin typeface="Segoe UI"/>
                <a:cs typeface="Segoe UI"/>
              </a:rPr>
              <a:t>в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595959"/>
                </a:solidFill>
                <a:latin typeface="Segoe UI"/>
                <a:cs typeface="Segoe UI"/>
              </a:rPr>
              <a:t>реестр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691489" y="2052828"/>
            <a:ext cx="2637155" cy="65976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marR="5080" algn="ctr">
              <a:lnSpc>
                <a:spcPct val="98600"/>
              </a:lnSpc>
              <a:spcBef>
                <a:spcPts val="120"/>
              </a:spcBef>
            </a:pP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Модель кассы </a:t>
            </a:r>
            <a:r>
              <a:rPr sz="1400" b="1" dirty="0">
                <a:solidFill>
                  <a:srgbClr val="C00000"/>
                </a:solidFill>
                <a:latin typeface="Segoe UI"/>
                <a:cs typeface="Segoe UI"/>
              </a:rPr>
              <a:t>НЕ 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включена в </a:t>
            </a:r>
            <a:r>
              <a:rPr sz="1400" b="1" spc="-38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реестр ККТ с </a:t>
            </a: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поддержкой 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 ФФД </a:t>
            </a: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1.2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8276366" y="1814530"/>
            <a:ext cx="2880360" cy="1142365"/>
          </a:xfrm>
          <a:custGeom>
            <a:avLst/>
            <a:gdLst/>
            <a:ahLst/>
            <a:cxnLst/>
            <a:rect l="l" t="t" r="r" b="b"/>
            <a:pathLst>
              <a:path w="2880359" h="1142364">
                <a:moveTo>
                  <a:pt x="0" y="95379"/>
                </a:moveTo>
                <a:lnTo>
                  <a:pt x="7495" y="58253"/>
                </a:lnTo>
                <a:lnTo>
                  <a:pt x="27936" y="27936"/>
                </a:lnTo>
                <a:lnTo>
                  <a:pt x="58253" y="7495"/>
                </a:lnTo>
                <a:lnTo>
                  <a:pt x="95379" y="0"/>
                </a:lnTo>
                <a:lnTo>
                  <a:pt x="2784620" y="0"/>
                </a:lnTo>
                <a:lnTo>
                  <a:pt x="2821746" y="7495"/>
                </a:lnTo>
                <a:lnTo>
                  <a:pt x="2852063" y="27936"/>
                </a:lnTo>
                <a:lnTo>
                  <a:pt x="2872504" y="58253"/>
                </a:lnTo>
                <a:lnTo>
                  <a:pt x="2880000" y="95379"/>
                </a:lnTo>
                <a:lnTo>
                  <a:pt x="2880000" y="1046904"/>
                </a:lnTo>
                <a:lnTo>
                  <a:pt x="2872504" y="1084030"/>
                </a:lnTo>
                <a:lnTo>
                  <a:pt x="2852063" y="1114347"/>
                </a:lnTo>
                <a:lnTo>
                  <a:pt x="2821746" y="1134788"/>
                </a:lnTo>
                <a:lnTo>
                  <a:pt x="2784620" y="1142284"/>
                </a:lnTo>
                <a:lnTo>
                  <a:pt x="95379" y="1142284"/>
                </a:lnTo>
                <a:lnTo>
                  <a:pt x="58253" y="1134788"/>
                </a:lnTo>
                <a:lnTo>
                  <a:pt x="27936" y="1114347"/>
                </a:lnTo>
                <a:lnTo>
                  <a:pt x="7495" y="1084030"/>
                </a:lnTo>
                <a:lnTo>
                  <a:pt x="0" y="1046904"/>
                </a:lnTo>
                <a:lnTo>
                  <a:pt x="0" y="95379"/>
                </a:lnTo>
                <a:close/>
              </a:path>
            </a:pathLst>
          </a:custGeom>
          <a:ln w="1270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8397947" y="1946147"/>
            <a:ext cx="2637155" cy="87312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065" marR="5080" algn="ctr">
              <a:lnSpc>
                <a:spcPct val="99000"/>
              </a:lnSpc>
              <a:spcBef>
                <a:spcPts val="114"/>
              </a:spcBef>
            </a:pP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Модель кассы </a:t>
            </a:r>
            <a:r>
              <a:rPr sz="1400" b="1" dirty="0">
                <a:solidFill>
                  <a:srgbClr val="C00000"/>
                </a:solidFill>
                <a:latin typeface="Segoe UI"/>
                <a:cs typeface="Segoe UI"/>
              </a:rPr>
              <a:t>НЕ 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включена в </a:t>
            </a:r>
            <a:r>
              <a:rPr sz="1400" b="1" spc="-37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реестр ККТ и в </a:t>
            </a: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список касс 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с </a:t>
            </a:r>
            <a:r>
              <a:rPr sz="1400" b="1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планируемой поддержкой 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 ФФД </a:t>
            </a: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1.2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515999" y="364671"/>
            <a:ext cx="11160125" cy="720090"/>
          </a:xfrm>
          <a:custGeom>
            <a:avLst/>
            <a:gdLst/>
            <a:ahLst/>
            <a:cxnLst/>
            <a:rect l="l" t="t" r="r" b="b"/>
            <a:pathLst>
              <a:path w="11160125" h="720090">
                <a:moveTo>
                  <a:pt x="11040003" y="0"/>
                </a:moveTo>
                <a:lnTo>
                  <a:pt x="119996" y="0"/>
                </a:lnTo>
                <a:lnTo>
                  <a:pt x="73288" y="9430"/>
                </a:lnTo>
                <a:lnTo>
                  <a:pt x="35146" y="35146"/>
                </a:lnTo>
                <a:lnTo>
                  <a:pt x="9429" y="73289"/>
                </a:lnTo>
                <a:lnTo>
                  <a:pt x="0" y="119998"/>
                </a:lnTo>
                <a:lnTo>
                  <a:pt x="0" y="600002"/>
                </a:lnTo>
                <a:lnTo>
                  <a:pt x="9429" y="646710"/>
                </a:lnTo>
                <a:lnTo>
                  <a:pt x="35146" y="684853"/>
                </a:lnTo>
                <a:lnTo>
                  <a:pt x="73288" y="710569"/>
                </a:lnTo>
                <a:lnTo>
                  <a:pt x="119996" y="719999"/>
                </a:lnTo>
                <a:lnTo>
                  <a:pt x="11040003" y="719999"/>
                </a:lnTo>
                <a:lnTo>
                  <a:pt x="11086711" y="710569"/>
                </a:lnTo>
                <a:lnTo>
                  <a:pt x="11124853" y="684853"/>
                </a:lnTo>
                <a:lnTo>
                  <a:pt x="11150569" y="646710"/>
                </a:lnTo>
                <a:lnTo>
                  <a:pt x="11159999" y="600002"/>
                </a:lnTo>
                <a:lnTo>
                  <a:pt x="11159999" y="119998"/>
                </a:lnTo>
                <a:lnTo>
                  <a:pt x="11150569" y="73289"/>
                </a:lnTo>
                <a:lnTo>
                  <a:pt x="11124853" y="35146"/>
                </a:lnTo>
                <a:lnTo>
                  <a:pt x="11086711" y="9430"/>
                </a:lnTo>
                <a:lnTo>
                  <a:pt x="11040003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>
            <a:spLocks noGrp="1"/>
          </p:cNvSpPr>
          <p:nvPr>
            <p:ph type="title"/>
          </p:nvPr>
        </p:nvSpPr>
        <p:spPr>
          <a:xfrm>
            <a:off x="718448" y="517651"/>
            <a:ext cx="478853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Обновление</a:t>
            </a:r>
            <a:r>
              <a:rPr spc="-25" dirty="0"/>
              <a:t> </a:t>
            </a:r>
            <a:r>
              <a:rPr spc="-10" dirty="0"/>
              <a:t>кассового</a:t>
            </a:r>
            <a:r>
              <a:rPr spc="-20" dirty="0"/>
              <a:t> </a:t>
            </a:r>
            <a:r>
              <a:rPr dirty="0"/>
              <a:t>ПО</a:t>
            </a:r>
            <a:r>
              <a:rPr spc="-20" dirty="0"/>
              <a:t> </a:t>
            </a:r>
            <a:r>
              <a:rPr spc="-5" dirty="0"/>
              <a:t>(2/2)</a:t>
            </a:r>
          </a:p>
        </p:txBody>
      </p:sp>
      <p:sp>
        <p:nvSpPr>
          <p:cNvPr id="25" name="object 25"/>
          <p:cNvSpPr/>
          <p:nvPr/>
        </p:nvSpPr>
        <p:spPr>
          <a:xfrm>
            <a:off x="1324980" y="5998340"/>
            <a:ext cx="9370060" cy="577850"/>
          </a:xfrm>
          <a:custGeom>
            <a:avLst/>
            <a:gdLst/>
            <a:ahLst/>
            <a:cxnLst/>
            <a:rect l="l" t="t" r="r" b="b"/>
            <a:pathLst>
              <a:path w="9370060" h="577850">
                <a:moveTo>
                  <a:pt x="9315617" y="0"/>
                </a:moveTo>
                <a:lnTo>
                  <a:pt x="54237" y="0"/>
                </a:lnTo>
                <a:lnTo>
                  <a:pt x="33125" y="4262"/>
                </a:lnTo>
                <a:lnTo>
                  <a:pt x="15885" y="15886"/>
                </a:lnTo>
                <a:lnTo>
                  <a:pt x="4262" y="33126"/>
                </a:lnTo>
                <a:lnTo>
                  <a:pt x="0" y="54238"/>
                </a:lnTo>
                <a:lnTo>
                  <a:pt x="0" y="523537"/>
                </a:lnTo>
                <a:lnTo>
                  <a:pt x="4262" y="544649"/>
                </a:lnTo>
                <a:lnTo>
                  <a:pt x="15885" y="561889"/>
                </a:lnTo>
                <a:lnTo>
                  <a:pt x="33125" y="573513"/>
                </a:lnTo>
                <a:lnTo>
                  <a:pt x="54237" y="577775"/>
                </a:lnTo>
                <a:lnTo>
                  <a:pt x="9315617" y="577775"/>
                </a:lnTo>
                <a:lnTo>
                  <a:pt x="9336729" y="573513"/>
                </a:lnTo>
                <a:lnTo>
                  <a:pt x="9353968" y="561889"/>
                </a:lnTo>
                <a:lnTo>
                  <a:pt x="9365592" y="544649"/>
                </a:lnTo>
                <a:lnTo>
                  <a:pt x="9369854" y="523537"/>
                </a:lnTo>
                <a:lnTo>
                  <a:pt x="9369854" y="54238"/>
                </a:lnTo>
                <a:lnTo>
                  <a:pt x="9365592" y="33126"/>
                </a:lnTo>
                <a:lnTo>
                  <a:pt x="9353968" y="15886"/>
                </a:lnTo>
                <a:lnTo>
                  <a:pt x="9336729" y="4262"/>
                </a:lnTo>
                <a:lnTo>
                  <a:pt x="9315617" y="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2048165" y="6158484"/>
            <a:ext cx="791083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5" dirty="0">
                <a:solidFill>
                  <a:srgbClr val="F2F2F2"/>
                </a:solidFill>
                <a:latin typeface="Segoe UI"/>
                <a:cs typeface="Segoe UI"/>
              </a:rPr>
              <a:t>Уточнить</a:t>
            </a:r>
            <a:r>
              <a:rPr sz="1400" dirty="0">
                <a:solidFill>
                  <a:srgbClr val="F2F2F2"/>
                </a:solidFill>
                <a:latin typeface="Segoe UI"/>
                <a:cs typeface="Segoe UI"/>
              </a:rPr>
              <a:t> у</a:t>
            </a:r>
            <a:r>
              <a:rPr sz="1400" spc="10" dirty="0">
                <a:solidFill>
                  <a:srgbClr val="F2F2F2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F2F2F2"/>
                </a:solidFill>
                <a:latin typeface="Segoe UI"/>
                <a:cs typeface="Segoe UI"/>
              </a:rPr>
              <a:t>поставщика</a:t>
            </a:r>
            <a:r>
              <a:rPr sz="1400" spc="10" dirty="0">
                <a:solidFill>
                  <a:srgbClr val="F2F2F2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F2F2F2"/>
                </a:solidFill>
                <a:latin typeface="Segoe UI"/>
                <a:cs typeface="Segoe UI"/>
              </a:rPr>
              <a:t>перспективы</a:t>
            </a:r>
            <a:r>
              <a:rPr sz="1400" spc="5" dirty="0">
                <a:solidFill>
                  <a:srgbClr val="F2F2F2"/>
                </a:solidFill>
                <a:latin typeface="Segoe UI"/>
                <a:cs typeface="Segoe UI"/>
              </a:rPr>
              <a:t> </a:t>
            </a:r>
            <a:r>
              <a:rPr sz="1400" spc="-10" dirty="0">
                <a:solidFill>
                  <a:srgbClr val="F2F2F2"/>
                </a:solidFill>
                <a:latin typeface="Segoe UI"/>
                <a:cs typeface="Segoe UI"/>
              </a:rPr>
              <a:t>поддержки</a:t>
            </a:r>
            <a:r>
              <a:rPr sz="1400" spc="10" dirty="0">
                <a:solidFill>
                  <a:srgbClr val="F2F2F2"/>
                </a:solidFill>
                <a:latin typeface="Segoe UI"/>
                <a:cs typeface="Segoe UI"/>
              </a:rPr>
              <a:t> </a:t>
            </a:r>
            <a:r>
              <a:rPr sz="1400" spc="-10" dirty="0">
                <a:solidFill>
                  <a:srgbClr val="F2F2F2"/>
                </a:solidFill>
                <a:latin typeface="Segoe UI"/>
                <a:cs typeface="Segoe UI"/>
              </a:rPr>
              <a:t>ФФД</a:t>
            </a:r>
            <a:r>
              <a:rPr sz="1400" spc="15" dirty="0">
                <a:solidFill>
                  <a:srgbClr val="F2F2F2"/>
                </a:solidFill>
                <a:latin typeface="Segoe UI"/>
                <a:cs typeface="Segoe UI"/>
              </a:rPr>
              <a:t> </a:t>
            </a:r>
            <a:r>
              <a:rPr sz="1400" spc="-10" dirty="0">
                <a:solidFill>
                  <a:srgbClr val="F2F2F2"/>
                </a:solidFill>
                <a:latin typeface="Segoe UI"/>
                <a:cs typeface="Segoe UI"/>
              </a:rPr>
              <a:t>1.2,</a:t>
            </a:r>
            <a:r>
              <a:rPr sz="1400" spc="10" dirty="0">
                <a:solidFill>
                  <a:srgbClr val="F2F2F2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F2F2F2"/>
                </a:solidFill>
                <a:latin typeface="Segoe UI"/>
                <a:cs typeface="Segoe UI"/>
              </a:rPr>
              <a:t>либо</a:t>
            </a:r>
            <a:r>
              <a:rPr sz="1400" spc="10" dirty="0">
                <a:solidFill>
                  <a:srgbClr val="F2F2F2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F2F2F2"/>
                </a:solidFill>
                <a:latin typeface="Segoe UI"/>
                <a:cs typeface="Segoe UI"/>
              </a:rPr>
              <a:t>замены</a:t>
            </a:r>
            <a:r>
              <a:rPr sz="1400" spc="5" dirty="0">
                <a:solidFill>
                  <a:srgbClr val="F2F2F2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F2F2F2"/>
                </a:solidFill>
                <a:latin typeface="Segoe UI"/>
                <a:cs typeface="Segoe UI"/>
              </a:rPr>
              <a:t>кассы</a:t>
            </a:r>
            <a:r>
              <a:rPr sz="1400" spc="5" dirty="0">
                <a:solidFill>
                  <a:srgbClr val="F2F2F2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F2F2F2"/>
                </a:solidFill>
                <a:latin typeface="Segoe UI"/>
                <a:cs typeface="Segoe UI"/>
              </a:rPr>
              <a:t>на</a:t>
            </a:r>
            <a:r>
              <a:rPr sz="1400" spc="10" dirty="0">
                <a:solidFill>
                  <a:srgbClr val="F2F2F2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F2F2F2"/>
                </a:solidFill>
                <a:latin typeface="Segoe UI"/>
                <a:cs typeface="Segoe UI"/>
              </a:rPr>
              <a:t>новую</a:t>
            </a:r>
            <a:r>
              <a:rPr sz="1400" spc="10" dirty="0">
                <a:solidFill>
                  <a:srgbClr val="F2F2F2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F2F2F2"/>
                </a:solidFill>
                <a:latin typeface="Segoe UI"/>
                <a:cs typeface="Segoe UI"/>
              </a:rPr>
              <a:t>модель.</a:t>
            </a:r>
            <a:endParaRPr sz="1400">
              <a:latin typeface="Segoe UI"/>
              <a:cs typeface="Segoe UI"/>
            </a:endParaRPr>
          </a:p>
        </p:txBody>
      </p:sp>
      <p:pic>
        <p:nvPicPr>
          <p:cNvPr id="27" name="object 2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579497" y="6049616"/>
            <a:ext cx="299878" cy="299879"/>
          </a:xfrm>
          <a:prstGeom prst="rect">
            <a:avLst/>
          </a:prstGeom>
        </p:spPr>
      </p:pic>
      <p:pic>
        <p:nvPicPr>
          <p:cNvPr id="28" name="object 28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90867" y="5235238"/>
            <a:ext cx="299879" cy="299878"/>
          </a:xfrm>
          <a:prstGeom prst="rect">
            <a:avLst/>
          </a:prstGeom>
        </p:spPr>
      </p:pic>
      <p:sp>
        <p:nvSpPr>
          <p:cNvPr id="29" name="object 29"/>
          <p:cNvSpPr txBox="1"/>
          <p:nvPr/>
        </p:nvSpPr>
        <p:spPr>
          <a:xfrm>
            <a:off x="985280" y="5045964"/>
            <a:ext cx="2025014" cy="65659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 marR="5080">
              <a:lnSpc>
                <a:spcPct val="97900"/>
              </a:lnSpc>
              <a:spcBef>
                <a:spcPts val="135"/>
              </a:spcBef>
            </a:pPr>
            <a:r>
              <a:rPr sz="1400" spc="-10" dirty="0">
                <a:solidFill>
                  <a:srgbClr val="63666A"/>
                </a:solidFill>
                <a:latin typeface="Segoe UI"/>
                <a:cs typeface="Segoe UI"/>
              </a:rPr>
              <a:t>Реестр </a:t>
            </a:r>
            <a:r>
              <a:rPr sz="1400" dirty="0">
                <a:solidFill>
                  <a:srgbClr val="63666A"/>
                </a:solidFill>
                <a:latin typeface="Segoe UI"/>
                <a:cs typeface="Segoe UI"/>
              </a:rPr>
              <a:t>ККТ </a:t>
            </a:r>
            <a:r>
              <a:rPr sz="1400" spc="-10" dirty="0">
                <a:solidFill>
                  <a:srgbClr val="63666A"/>
                </a:solidFill>
                <a:latin typeface="Segoe UI"/>
                <a:cs typeface="Segoe UI"/>
              </a:rPr>
              <a:t>находится </a:t>
            </a:r>
            <a:r>
              <a:rPr sz="1400" dirty="0">
                <a:solidFill>
                  <a:srgbClr val="63666A"/>
                </a:solidFill>
                <a:latin typeface="Segoe UI"/>
                <a:cs typeface="Segoe UI"/>
              </a:rPr>
              <a:t>на </a:t>
            </a:r>
            <a:r>
              <a:rPr sz="1400" spc="-370" dirty="0">
                <a:solidFill>
                  <a:srgbClr val="63666A"/>
                </a:solidFill>
                <a:latin typeface="Segoe UI"/>
                <a:cs typeface="Segoe UI"/>
              </a:rPr>
              <a:t> </a:t>
            </a:r>
            <a:r>
              <a:rPr sz="1400" spc="-10" dirty="0">
                <a:solidFill>
                  <a:srgbClr val="63666A"/>
                </a:solidFill>
                <a:latin typeface="Segoe UI"/>
                <a:cs typeface="Segoe UI"/>
              </a:rPr>
              <a:t>сайте</a:t>
            </a:r>
            <a:r>
              <a:rPr sz="1400" spc="5" dirty="0">
                <a:solidFill>
                  <a:srgbClr val="63666A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3666A"/>
                </a:solidFill>
                <a:latin typeface="Segoe UI"/>
                <a:cs typeface="Segoe UI"/>
              </a:rPr>
              <a:t>ФНС: </a:t>
            </a:r>
            <a:r>
              <a:rPr sz="1400" dirty="0">
                <a:solidFill>
                  <a:srgbClr val="63666A"/>
                </a:solidFill>
                <a:latin typeface="Segoe UI"/>
                <a:cs typeface="Segoe UI"/>
              </a:rPr>
              <a:t> </a:t>
            </a:r>
            <a:r>
              <a:rPr sz="1400" u="sng" spc="-10" dirty="0">
                <a:solidFill>
                  <a:srgbClr val="0563C1"/>
                </a:solidFill>
                <a:uFill>
                  <a:solidFill>
                    <a:srgbClr val="0563C1"/>
                  </a:solidFill>
                </a:uFill>
                <a:latin typeface="Segoe UI"/>
                <a:cs typeface="Segoe UI"/>
              </a:rPr>
              <a:t>https://</a:t>
            </a:r>
            <a:r>
              <a:rPr sz="1400" u="sng" spc="-10" dirty="0">
                <a:solidFill>
                  <a:srgbClr val="0563C1"/>
                </a:solidFill>
                <a:uFill>
                  <a:solidFill>
                    <a:srgbClr val="0563C1"/>
                  </a:solidFill>
                </a:uFill>
                <a:latin typeface="Segoe UI"/>
                <a:cs typeface="Segoe UI"/>
                <a:hlinkClick r:id="rId6"/>
              </a:rPr>
              <a:t>www.nalog.gov.ru</a:t>
            </a:r>
            <a:endParaRPr sz="1400">
              <a:latin typeface="Segoe UI"/>
              <a:cs typeface="Segoe UI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7999"/>
                </a:lnTo>
                <a:lnTo>
                  <a:pt x="12192000" y="6857999"/>
                </a:lnTo>
                <a:lnTo>
                  <a:pt x="1219200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515999" y="359999"/>
            <a:ext cx="11160125" cy="720090"/>
          </a:xfrm>
          <a:custGeom>
            <a:avLst/>
            <a:gdLst/>
            <a:ahLst/>
            <a:cxnLst/>
            <a:rect l="l" t="t" r="r" b="b"/>
            <a:pathLst>
              <a:path w="11160125" h="720090">
                <a:moveTo>
                  <a:pt x="11040003" y="0"/>
                </a:moveTo>
                <a:lnTo>
                  <a:pt x="119996" y="0"/>
                </a:lnTo>
                <a:lnTo>
                  <a:pt x="73288" y="9430"/>
                </a:lnTo>
                <a:lnTo>
                  <a:pt x="35146" y="35146"/>
                </a:lnTo>
                <a:lnTo>
                  <a:pt x="9429" y="73288"/>
                </a:lnTo>
                <a:lnTo>
                  <a:pt x="0" y="119997"/>
                </a:lnTo>
                <a:lnTo>
                  <a:pt x="0" y="600001"/>
                </a:lnTo>
                <a:lnTo>
                  <a:pt x="9429" y="646710"/>
                </a:lnTo>
                <a:lnTo>
                  <a:pt x="35146" y="684853"/>
                </a:lnTo>
                <a:lnTo>
                  <a:pt x="73288" y="710569"/>
                </a:lnTo>
                <a:lnTo>
                  <a:pt x="119996" y="719999"/>
                </a:lnTo>
                <a:lnTo>
                  <a:pt x="11040003" y="719999"/>
                </a:lnTo>
                <a:lnTo>
                  <a:pt x="11086711" y="710569"/>
                </a:lnTo>
                <a:lnTo>
                  <a:pt x="11124853" y="684853"/>
                </a:lnTo>
                <a:lnTo>
                  <a:pt x="11150569" y="646710"/>
                </a:lnTo>
                <a:lnTo>
                  <a:pt x="11159999" y="600001"/>
                </a:lnTo>
                <a:lnTo>
                  <a:pt x="11159999" y="119997"/>
                </a:lnTo>
                <a:lnTo>
                  <a:pt x="11150569" y="73288"/>
                </a:lnTo>
                <a:lnTo>
                  <a:pt x="11124853" y="35146"/>
                </a:lnTo>
                <a:lnTo>
                  <a:pt x="11086711" y="9430"/>
                </a:lnTo>
                <a:lnTo>
                  <a:pt x="11040003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718448" y="511555"/>
            <a:ext cx="66986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Запрос</a:t>
            </a:r>
            <a:r>
              <a:rPr spc="-10" dirty="0"/>
              <a:t> </a:t>
            </a:r>
            <a:r>
              <a:rPr dirty="0"/>
              <a:t>о</a:t>
            </a:r>
            <a:r>
              <a:rPr spc="-10" dirty="0"/>
              <a:t> </a:t>
            </a:r>
            <a:r>
              <a:rPr spc="-20" dirty="0"/>
              <a:t>коде</a:t>
            </a:r>
            <a:r>
              <a:rPr spc="-5" dirty="0"/>
              <a:t> </a:t>
            </a:r>
            <a:r>
              <a:rPr spc="-10" dirty="0"/>
              <a:t>маркировки. </a:t>
            </a:r>
            <a:r>
              <a:rPr spc="-5" dirty="0"/>
              <a:t>Ответ на</a:t>
            </a:r>
            <a:r>
              <a:rPr spc="-10" dirty="0"/>
              <a:t> </a:t>
            </a:r>
            <a:r>
              <a:rPr spc="-5" dirty="0"/>
              <a:t>запрос.</a:t>
            </a:r>
          </a:p>
        </p:txBody>
      </p:sp>
      <p:pic>
        <p:nvPicPr>
          <p:cNvPr id="5" name="object 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778511" y="2803776"/>
            <a:ext cx="1439999" cy="1439999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973488" y="2880095"/>
            <a:ext cx="1439999" cy="1287359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168464" y="2803776"/>
            <a:ext cx="1439999" cy="1439999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9583534" y="2803776"/>
            <a:ext cx="1439999" cy="1439999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1521306" y="4436364"/>
            <a:ext cx="73406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К</a:t>
            </a:r>
            <a:r>
              <a:rPr sz="1400" b="1" spc="-10" dirty="0">
                <a:solidFill>
                  <a:srgbClr val="6D6E71"/>
                </a:solidFill>
                <a:latin typeface="Segoe UI"/>
                <a:cs typeface="Segoe UI"/>
              </a:rPr>
              <a:t>А</a:t>
            </a:r>
            <a:r>
              <a:rPr sz="1400" b="1" spc="-30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400" b="1" spc="5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Р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512513" y="4436364"/>
            <a:ext cx="36195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ККТ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275023" y="4436364"/>
            <a:ext cx="44704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О</a:t>
            </a:r>
            <a:r>
              <a:rPr sz="1400" b="1" spc="-10" dirty="0">
                <a:solidFill>
                  <a:srgbClr val="6D6E71"/>
                </a:solidFill>
                <a:latin typeface="Segoe UI"/>
                <a:cs typeface="Segoe UI"/>
              </a:rPr>
              <a:t>Ф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Д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9957458" y="4436364"/>
            <a:ext cx="69215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ГИС</a:t>
            </a:r>
            <a:r>
              <a:rPr sz="1400" b="1" spc="-7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МТ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073569" y="2512059"/>
            <a:ext cx="1239520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9410" marR="5080" indent="-347345">
              <a:lnSpc>
                <a:spcPct val="100000"/>
              </a:lnSpc>
              <a:spcBef>
                <a:spcPts val="100"/>
              </a:spcBef>
            </a:pP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Локальная</a:t>
            </a:r>
            <a:r>
              <a:rPr sz="1000" spc="-5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проверка </a:t>
            </a:r>
            <a:r>
              <a:rPr sz="1000" spc="-254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на</a:t>
            </a:r>
            <a:r>
              <a:rPr sz="10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ФН-М</a:t>
            </a:r>
            <a:endParaRPr sz="1000">
              <a:latin typeface="Segoe UI"/>
              <a:cs typeface="Segoe U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854847" y="3079496"/>
            <a:ext cx="791845" cy="3028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16535" marR="5080" indent="-204470">
              <a:lnSpc>
                <a:spcPct val="102200"/>
              </a:lnSpc>
              <a:spcBef>
                <a:spcPts val="75"/>
              </a:spcBef>
            </a:pP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ка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н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ров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а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н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ие 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товара</a:t>
            </a:r>
            <a:endParaRPr sz="900">
              <a:latin typeface="Segoe UI"/>
              <a:cs typeface="Segoe UI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2691704" y="3420737"/>
            <a:ext cx="1118870" cy="76200"/>
          </a:xfrm>
          <a:custGeom>
            <a:avLst/>
            <a:gdLst/>
            <a:ahLst/>
            <a:cxnLst/>
            <a:rect l="l" t="t" r="r" b="b"/>
            <a:pathLst>
              <a:path w="1118870" h="76200">
                <a:moveTo>
                  <a:pt x="1042249" y="0"/>
                </a:moveTo>
                <a:lnTo>
                  <a:pt x="1042249" y="76200"/>
                </a:lnTo>
                <a:lnTo>
                  <a:pt x="1105749" y="44450"/>
                </a:lnTo>
                <a:lnTo>
                  <a:pt x="1054949" y="44450"/>
                </a:lnTo>
                <a:lnTo>
                  <a:pt x="1054949" y="31750"/>
                </a:lnTo>
                <a:lnTo>
                  <a:pt x="1105749" y="31750"/>
                </a:lnTo>
                <a:lnTo>
                  <a:pt x="1042249" y="0"/>
                </a:lnTo>
                <a:close/>
              </a:path>
              <a:path w="1118870" h="76200">
                <a:moveTo>
                  <a:pt x="1042249" y="31750"/>
                </a:moveTo>
                <a:lnTo>
                  <a:pt x="0" y="31750"/>
                </a:lnTo>
                <a:lnTo>
                  <a:pt x="0" y="44450"/>
                </a:lnTo>
                <a:lnTo>
                  <a:pt x="1042249" y="44450"/>
                </a:lnTo>
                <a:lnTo>
                  <a:pt x="1042249" y="31750"/>
                </a:lnTo>
                <a:close/>
              </a:path>
              <a:path w="1118870" h="76200">
                <a:moveTo>
                  <a:pt x="1105749" y="31750"/>
                </a:moveTo>
                <a:lnTo>
                  <a:pt x="1054949" y="31750"/>
                </a:lnTo>
                <a:lnTo>
                  <a:pt x="1054949" y="44450"/>
                </a:lnTo>
                <a:lnTo>
                  <a:pt x="1105749" y="44450"/>
                </a:lnTo>
                <a:lnTo>
                  <a:pt x="1118449" y="38100"/>
                </a:lnTo>
                <a:lnTo>
                  <a:pt x="1105749" y="3175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5934927" y="3073400"/>
            <a:ext cx="399415" cy="3028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64769" marR="5080" indent="-52705">
              <a:lnSpc>
                <a:spcPct val="102200"/>
              </a:lnSpc>
              <a:spcBef>
                <a:spcPts val="75"/>
              </a:spcBef>
            </a:pP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За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п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ро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с  о</a:t>
            </a:r>
            <a:r>
              <a:rPr sz="900" spc="-4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КМ</a:t>
            </a:r>
            <a:endParaRPr sz="900">
              <a:latin typeface="Segoe UI"/>
              <a:cs typeface="Segoe UI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5574934" y="3420737"/>
            <a:ext cx="1118870" cy="76200"/>
          </a:xfrm>
          <a:custGeom>
            <a:avLst/>
            <a:gdLst/>
            <a:ahLst/>
            <a:cxnLst/>
            <a:rect l="l" t="t" r="r" b="b"/>
            <a:pathLst>
              <a:path w="1118870" h="76200">
                <a:moveTo>
                  <a:pt x="1042249" y="0"/>
                </a:moveTo>
                <a:lnTo>
                  <a:pt x="1042249" y="76200"/>
                </a:lnTo>
                <a:lnTo>
                  <a:pt x="1105749" y="44450"/>
                </a:lnTo>
                <a:lnTo>
                  <a:pt x="1054949" y="44450"/>
                </a:lnTo>
                <a:lnTo>
                  <a:pt x="1054949" y="31750"/>
                </a:lnTo>
                <a:lnTo>
                  <a:pt x="1105749" y="31750"/>
                </a:lnTo>
                <a:lnTo>
                  <a:pt x="1042249" y="0"/>
                </a:lnTo>
                <a:close/>
              </a:path>
              <a:path w="1118870" h="76200">
                <a:moveTo>
                  <a:pt x="1042249" y="31750"/>
                </a:moveTo>
                <a:lnTo>
                  <a:pt x="0" y="31750"/>
                </a:lnTo>
                <a:lnTo>
                  <a:pt x="0" y="44450"/>
                </a:lnTo>
                <a:lnTo>
                  <a:pt x="1042249" y="44450"/>
                </a:lnTo>
                <a:lnTo>
                  <a:pt x="1042249" y="31750"/>
                </a:lnTo>
                <a:close/>
              </a:path>
              <a:path w="1118870" h="76200">
                <a:moveTo>
                  <a:pt x="1105749" y="31750"/>
                </a:moveTo>
                <a:lnTo>
                  <a:pt x="1054949" y="31750"/>
                </a:lnTo>
                <a:lnTo>
                  <a:pt x="1054949" y="44450"/>
                </a:lnTo>
                <a:lnTo>
                  <a:pt x="1105749" y="44450"/>
                </a:lnTo>
                <a:lnTo>
                  <a:pt x="1118449" y="38100"/>
                </a:lnTo>
                <a:lnTo>
                  <a:pt x="1105749" y="3175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8644406" y="3073400"/>
            <a:ext cx="399415" cy="3028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64769" marR="5080" indent="-52705">
              <a:lnSpc>
                <a:spcPct val="102200"/>
              </a:lnSpc>
              <a:spcBef>
                <a:spcPts val="75"/>
              </a:spcBef>
            </a:pP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За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п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ро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с  о</a:t>
            </a:r>
            <a:r>
              <a:rPr sz="900" spc="-4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КМ</a:t>
            </a:r>
            <a:endParaRPr sz="900">
              <a:latin typeface="Segoe UI"/>
              <a:cs typeface="Segoe UI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8284412" y="3420737"/>
            <a:ext cx="1118870" cy="76200"/>
          </a:xfrm>
          <a:custGeom>
            <a:avLst/>
            <a:gdLst/>
            <a:ahLst/>
            <a:cxnLst/>
            <a:rect l="l" t="t" r="r" b="b"/>
            <a:pathLst>
              <a:path w="1118870" h="76200">
                <a:moveTo>
                  <a:pt x="1042250" y="0"/>
                </a:moveTo>
                <a:lnTo>
                  <a:pt x="1042250" y="76200"/>
                </a:lnTo>
                <a:lnTo>
                  <a:pt x="1105750" y="44450"/>
                </a:lnTo>
                <a:lnTo>
                  <a:pt x="1054950" y="44450"/>
                </a:lnTo>
                <a:lnTo>
                  <a:pt x="1054950" y="31750"/>
                </a:lnTo>
                <a:lnTo>
                  <a:pt x="1105750" y="31750"/>
                </a:lnTo>
                <a:lnTo>
                  <a:pt x="1042250" y="0"/>
                </a:lnTo>
                <a:close/>
              </a:path>
              <a:path w="1118870" h="76200">
                <a:moveTo>
                  <a:pt x="1042250" y="31750"/>
                </a:moveTo>
                <a:lnTo>
                  <a:pt x="0" y="31750"/>
                </a:lnTo>
                <a:lnTo>
                  <a:pt x="0" y="44450"/>
                </a:lnTo>
                <a:lnTo>
                  <a:pt x="1042250" y="44450"/>
                </a:lnTo>
                <a:lnTo>
                  <a:pt x="1042250" y="31750"/>
                </a:lnTo>
                <a:close/>
              </a:path>
              <a:path w="1118870" h="76200">
                <a:moveTo>
                  <a:pt x="1105750" y="31750"/>
                </a:moveTo>
                <a:lnTo>
                  <a:pt x="1054950" y="31750"/>
                </a:lnTo>
                <a:lnTo>
                  <a:pt x="1054950" y="44450"/>
                </a:lnTo>
                <a:lnTo>
                  <a:pt x="1105750" y="44450"/>
                </a:lnTo>
                <a:lnTo>
                  <a:pt x="1118450" y="38100"/>
                </a:lnTo>
                <a:lnTo>
                  <a:pt x="1105750" y="3175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2982640" y="3759200"/>
            <a:ext cx="536575" cy="3028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indent="4445">
              <a:lnSpc>
                <a:spcPct val="102200"/>
              </a:lnSpc>
              <a:spcBef>
                <a:spcPts val="75"/>
              </a:spcBef>
            </a:pP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Р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е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з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ул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ь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т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ат  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п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ров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е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р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ки</a:t>
            </a:r>
            <a:endParaRPr sz="900">
              <a:latin typeface="Segoe UI"/>
              <a:cs typeface="Segoe UI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2691704" y="3642582"/>
            <a:ext cx="1118870" cy="76200"/>
          </a:xfrm>
          <a:custGeom>
            <a:avLst/>
            <a:gdLst/>
            <a:ahLst/>
            <a:cxnLst/>
            <a:rect l="l" t="t" r="r" b="b"/>
            <a:pathLst>
              <a:path w="1118870" h="76200">
                <a:moveTo>
                  <a:pt x="76200" y="0"/>
                </a:moveTo>
                <a:lnTo>
                  <a:pt x="0" y="38100"/>
                </a:lnTo>
                <a:lnTo>
                  <a:pt x="76200" y="76200"/>
                </a:lnTo>
                <a:lnTo>
                  <a:pt x="76200" y="44450"/>
                </a:lnTo>
                <a:lnTo>
                  <a:pt x="63500" y="44450"/>
                </a:lnTo>
                <a:lnTo>
                  <a:pt x="63500" y="31750"/>
                </a:lnTo>
                <a:lnTo>
                  <a:pt x="76200" y="31749"/>
                </a:lnTo>
                <a:lnTo>
                  <a:pt x="76200" y="0"/>
                </a:lnTo>
                <a:close/>
              </a:path>
              <a:path w="1118870" h="76200">
                <a:moveTo>
                  <a:pt x="76200" y="31749"/>
                </a:moveTo>
                <a:lnTo>
                  <a:pt x="63500" y="31750"/>
                </a:lnTo>
                <a:lnTo>
                  <a:pt x="63500" y="44450"/>
                </a:lnTo>
                <a:lnTo>
                  <a:pt x="76200" y="44449"/>
                </a:lnTo>
                <a:lnTo>
                  <a:pt x="76200" y="31749"/>
                </a:lnTo>
                <a:close/>
              </a:path>
              <a:path w="1118870" h="76200">
                <a:moveTo>
                  <a:pt x="76200" y="44449"/>
                </a:moveTo>
                <a:lnTo>
                  <a:pt x="63500" y="44450"/>
                </a:lnTo>
                <a:lnTo>
                  <a:pt x="76200" y="44450"/>
                </a:lnTo>
                <a:close/>
              </a:path>
              <a:path w="1118870" h="76200">
                <a:moveTo>
                  <a:pt x="1118449" y="31748"/>
                </a:moveTo>
                <a:lnTo>
                  <a:pt x="76200" y="31749"/>
                </a:lnTo>
                <a:lnTo>
                  <a:pt x="76200" y="44449"/>
                </a:lnTo>
                <a:lnTo>
                  <a:pt x="1118449" y="44448"/>
                </a:lnTo>
                <a:lnTo>
                  <a:pt x="1118449" y="31748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5861902" y="3765295"/>
            <a:ext cx="545465" cy="3028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indent="108585">
              <a:lnSpc>
                <a:spcPct val="102200"/>
              </a:lnSpc>
              <a:spcBef>
                <a:spcPts val="75"/>
              </a:spcBef>
            </a:pP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Ответ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 на</a:t>
            </a:r>
            <a:r>
              <a:rPr sz="900" spc="-6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запрос</a:t>
            </a:r>
            <a:endParaRPr sz="900">
              <a:latin typeface="Segoe UI"/>
              <a:cs typeface="Segoe UI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5574934" y="3642582"/>
            <a:ext cx="1118870" cy="76200"/>
          </a:xfrm>
          <a:custGeom>
            <a:avLst/>
            <a:gdLst/>
            <a:ahLst/>
            <a:cxnLst/>
            <a:rect l="l" t="t" r="r" b="b"/>
            <a:pathLst>
              <a:path w="1118870" h="76200">
                <a:moveTo>
                  <a:pt x="76200" y="0"/>
                </a:moveTo>
                <a:lnTo>
                  <a:pt x="0" y="38100"/>
                </a:lnTo>
                <a:lnTo>
                  <a:pt x="76200" y="76200"/>
                </a:lnTo>
                <a:lnTo>
                  <a:pt x="76200" y="44450"/>
                </a:lnTo>
                <a:lnTo>
                  <a:pt x="63500" y="44450"/>
                </a:lnTo>
                <a:lnTo>
                  <a:pt x="63500" y="31750"/>
                </a:lnTo>
                <a:lnTo>
                  <a:pt x="76200" y="31749"/>
                </a:lnTo>
                <a:lnTo>
                  <a:pt x="76200" y="0"/>
                </a:lnTo>
                <a:close/>
              </a:path>
              <a:path w="1118870" h="76200">
                <a:moveTo>
                  <a:pt x="76200" y="31749"/>
                </a:moveTo>
                <a:lnTo>
                  <a:pt x="63500" y="31750"/>
                </a:lnTo>
                <a:lnTo>
                  <a:pt x="63500" y="44450"/>
                </a:lnTo>
                <a:lnTo>
                  <a:pt x="76200" y="44449"/>
                </a:lnTo>
                <a:lnTo>
                  <a:pt x="76200" y="31749"/>
                </a:lnTo>
                <a:close/>
              </a:path>
              <a:path w="1118870" h="76200">
                <a:moveTo>
                  <a:pt x="76200" y="44449"/>
                </a:moveTo>
                <a:lnTo>
                  <a:pt x="63500" y="44450"/>
                </a:lnTo>
                <a:lnTo>
                  <a:pt x="76200" y="44450"/>
                </a:lnTo>
                <a:close/>
              </a:path>
              <a:path w="1118870" h="76200">
                <a:moveTo>
                  <a:pt x="1118449" y="31748"/>
                </a:moveTo>
                <a:lnTo>
                  <a:pt x="76200" y="31749"/>
                </a:lnTo>
                <a:lnTo>
                  <a:pt x="76200" y="44449"/>
                </a:lnTo>
                <a:lnTo>
                  <a:pt x="1118449" y="44448"/>
                </a:lnTo>
                <a:lnTo>
                  <a:pt x="1118449" y="31748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8571381" y="3765295"/>
            <a:ext cx="545465" cy="3028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indent="108585">
              <a:lnSpc>
                <a:spcPct val="102200"/>
              </a:lnSpc>
              <a:spcBef>
                <a:spcPts val="75"/>
              </a:spcBef>
            </a:pP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Ответ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 на</a:t>
            </a:r>
            <a:r>
              <a:rPr sz="900" spc="-6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запрос</a:t>
            </a:r>
            <a:endParaRPr sz="900">
              <a:latin typeface="Segoe UI"/>
              <a:cs typeface="Segoe UI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8284412" y="3642582"/>
            <a:ext cx="1118870" cy="76200"/>
          </a:xfrm>
          <a:custGeom>
            <a:avLst/>
            <a:gdLst/>
            <a:ahLst/>
            <a:cxnLst/>
            <a:rect l="l" t="t" r="r" b="b"/>
            <a:pathLst>
              <a:path w="1118870" h="76200">
                <a:moveTo>
                  <a:pt x="76200" y="0"/>
                </a:moveTo>
                <a:lnTo>
                  <a:pt x="0" y="38100"/>
                </a:lnTo>
                <a:lnTo>
                  <a:pt x="76200" y="76200"/>
                </a:lnTo>
                <a:lnTo>
                  <a:pt x="76200" y="44450"/>
                </a:lnTo>
                <a:lnTo>
                  <a:pt x="63501" y="44450"/>
                </a:lnTo>
                <a:lnTo>
                  <a:pt x="63501" y="31750"/>
                </a:lnTo>
                <a:lnTo>
                  <a:pt x="76200" y="31749"/>
                </a:lnTo>
                <a:lnTo>
                  <a:pt x="76200" y="0"/>
                </a:lnTo>
                <a:close/>
              </a:path>
              <a:path w="1118870" h="76200">
                <a:moveTo>
                  <a:pt x="76200" y="31749"/>
                </a:moveTo>
                <a:lnTo>
                  <a:pt x="63501" y="31750"/>
                </a:lnTo>
                <a:lnTo>
                  <a:pt x="63501" y="44450"/>
                </a:lnTo>
                <a:lnTo>
                  <a:pt x="76200" y="44449"/>
                </a:lnTo>
                <a:lnTo>
                  <a:pt x="76200" y="31749"/>
                </a:lnTo>
                <a:close/>
              </a:path>
              <a:path w="1118870" h="76200">
                <a:moveTo>
                  <a:pt x="76200" y="44449"/>
                </a:moveTo>
                <a:lnTo>
                  <a:pt x="63501" y="44450"/>
                </a:lnTo>
                <a:lnTo>
                  <a:pt x="76200" y="44450"/>
                </a:lnTo>
                <a:close/>
              </a:path>
              <a:path w="1118870" h="76200">
                <a:moveTo>
                  <a:pt x="1118450" y="31748"/>
                </a:moveTo>
                <a:lnTo>
                  <a:pt x="76200" y="31749"/>
                </a:lnTo>
                <a:lnTo>
                  <a:pt x="76200" y="44449"/>
                </a:lnTo>
                <a:lnTo>
                  <a:pt x="1118450" y="44448"/>
                </a:lnTo>
                <a:lnTo>
                  <a:pt x="1118450" y="31748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15999" y="360000"/>
            <a:ext cx="11160125" cy="720090"/>
          </a:xfrm>
          <a:custGeom>
            <a:avLst/>
            <a:gdLst/>
            <a:ahLst/>
            <a:cxnLst/>
            <a:rect l="l" t="t" r="r" b="b"/>
            <a:pathLst>
              <a:path w="11160125" h="720090">
                <a:moveTo>
                  <a:pt x="11040003" y="0"/>
                </a:moveTo>
                <a:lnTo>
                  <a:pt x="119996" y="0"/>
                </a:lnTo>
                <a:lnTo>
                  <a:pt x="73288" y="9430"/>
                </a:lnTo>
                <a:lnTo>
                  <a:pt x="35146" y="35146"/>
                </a:lnTo>
                <a:lnTo>
                  <a:pt x="9429" y="73288"/>
                </a:lnTo>
                <a:lnTo>
                  <a:pt x="0" y="119997"/>
                </a:lnTo>
                <a:lnTo>
                  <a:pt x="0" y="600001"/>
                </a:lnTo>
                <a:lnTo>
                  <a:pt x="9429" y="646710"/>
                </a:lnTo>
                <a:lnTo>
                  <a:pt x="35146" y="684853"/>
                </a:lnTo>
                <a:lnTo>
                  <a:pt x="73288" y="710569"/>
                </a:lnTo>
                <a:lnTo>
                  <a:pt x="119996" y="719999"/>
                </a:lnTo>
                <a:lnTo>
                  <a:pt x="11040003" y="719999"/>
                </a:lnTo>
                <a:lnTo>
                  <a:pt x="11086711" y="710569"/>
                </a:lnTo>
                <a:lnTo>
                  <a:pt x="11124853" y="684853"/>
                </a:lnTo>
                <a:lnTo>
                  <a:pt x="11150569" y="646710"/>
                </a:lnTo>
                <a:lnTo>
                  <a:pt x="11159999" y="600001"/>
                </a:lnTo>
                <a:lnTo>
                  <a:pt x="11159999" y="119997"/>
                </a:lnTo>
                <a:lnTo>
                  <a:pt x="11150569" y="73288"/>
                </a:lnTo>
                <a:lnTo>
                  <a:pt x="11124853" y="35146"/>
                </a:lnTo>
                <a:lnTo>
                  <a:pt x="11086711" y="9430"/>
                </a:lnTo>
                <a:lnTo>
                  <a:pt x="11040003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673447" y="511555"/>
            <a:ext cx="422719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Проверка</a:t>
            </a:r>
            <a:r>
              <a:rPr spc="-45" dirty="0"/>
              <a:t> </a:t>
            </a:r>
            <a:r>
              <a:rPr spc="-20" dirty="0"/>
              <a:t>кода</a:t>
            </a:r>
            <a:r>
              <a:rPr spc="-40" dirty="0"/>
              <a:t> </a:t>
            </a:r>
            <a:r>
              <a:rPr spc="-5" dirty="0"/>
              <a:t>маркировки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979549" y="3362452"/>
            <a:ext cx="3183255" cy="123571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5080">
              <a:lnSpc>
                <a:spcPct val="99100"/>
              </a:lnSpc>
              <a:spcBef>
                <a:spcPts val="114"/>
              </a:spcBef>
            </a:pPr>
            <a:r>
              <a:rPr sz="1600" spc="-5" dirty="0">
                <a:solidFill>
                  <a:srgbClr val="6D6E71"/>
                </a:solidFill>
                <a:latin typeface="Segoe UI"/>
                <a:cs typeface="Segoe UI"/>
              </a:rPr>
              <a:t>Проверяем </a:t>
            </a:r>
            <a:r>
              <a:rPr sz="1600" spc="-20" dirty="0">
                <a:solidFill>
                  <a:srgbClr val="6D6E71"/>
                </a:solidFill>
                <a:latin typeface="Segoe UI"/>
                <a:cs typeface="Segoe UI"/>
              </a:rPr>
              <a:t>код</a:t>
            </a:r>
            <a:r>
              <a:rPr sz="1600" spc="-5" dirty="0">
                <a:solidFill>
                  <a:srgbClr val="6D6E71"/>
                </a:solidFill>
                <a:latin typeface="Segoe UI"/>
                <a:cs typeface="Segoe UI"/>
              </a:rPr>
              <a:t> маркировки</a:t>
            </a:r>
            <a:r>
              <a:rPr sz="1600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dirty="0">
                <a:solidFill>
                  <a:srgbClr val="6D6E71"/>
                </a:solidFill>
                <a:latin typeface="Segoe UI"/>
                <a:cs typeface="Segoe UI"/>
              </a:rPr>
              <a:t>на </a:t>
            </a:r>
            <a:r>
              <a:rPr sz="16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spc="-5" dirty="0">
                <a:solidFill>
                  <a:srgbClr val="6D6E71"/>
                </a:solidFill>
                <a:latin typeface="Segoe UI"/>
                <a:cs typeface="Segoe UI"/>
              </a:rPr>
              <a:t>наличие </a:t>
            </a:r>
            <a:r>
              <a:rPr sz="1600" spc="-10" dirty="0">
                <a:solidFill>
                  <a:srgbClr val="6D6E71"/>
                </a:solidFill>
                <a:latin typeface="Segoe UI"/>
                <a:cs typeface="Segoe UI"/>
              </a:rPr>
              <a:t>разделителей, </a:t>
            </a:r>
            <a:r>
              <a:rPr sz="1600" spc="-5" dirty="0">
                <a:solidFill>
                  <a:srgbClr val="6D6E71"/>
                </a:solidFill>
                <a:latin typeface="Segoe UI"/>
                <a:cs typeface="Segoe UI"/>
              </a:rPr>
              <a:t>проводим </a:t>
            </a:r>
            <a:r>
              <a:rPr sz="1600" spc="-4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spc="-5" dirty="0">
                <a:solidFill>
                  <a:srgbClr val="6D6E71"/>
                </a:solidFill>
                <a:latin typeface="Segoe UI"/>
                <a:cs typeface="Segoe UI"/>
              </a:rPr>
              <a:t>проверку наличия всех групп </a:t>
            </a:r>
            <a:r>
              <a:rPr sz="16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spc="-5" dirty="0">
                <a:solidFill>
                  <a:srgbClr val="6D6E71"/>
                </a:solidFill>
                <a:latin typeface="Segoe UI"/>
                <a:cs typeface="Segoe UI"/>
              </a:rPr>
              <a:t>данных </a:t>
            </a:r>
            <a:r>
              <a:rPr sz="1600" spc="-15" dirty="0">
                <a:solidFill>
                  <a:srgbClr val="6D6E71"/>
                </a:solidFill>
                <a:latin typeface="Segoe UI"/>
                <a:cs typeface="Segoe UI"/>
              </a:rPr>
              <a:t>согласно </a:t>
            </a:r>
            <a:r>
              <a:rPr sz="1600" spc="-5" dirty="0">
                <a:solidFill>
                  <a:srgbClr val="6D6E71"/>
                </a:solidFill>
                <a:latin typeface="Segoe UI"/>
                <a:cs typeface="Segoe UI"/>
              </a:rPr>
              <a:t>ППР </a:t>
            </a:r>
            <a:r>
              <a:rPr sz="1600" dirty="0">
                <a:solidFill>
                  <a:srgbClr val="6D6E71"/>
                </a:solidFill>
                <a:latin typeface="Segoe UI"/>
                <a:cs typeface="Segoe UI"/>
              </a:rPr>
              <a:t>по </a:t>
            </a:r>
            <a:r>
              <a:rPr sz="1600" spc="5" dirty="0">
                <a:solidFill>
                  <a:srgbClr val="6D6E71"/>
                </a:solidFill>
                <a:latin typeface="Segoe UI"/>
                <a:cs typeface="Segoe UI"/>
              </a:rPr>
              <a:t>каждой </a:t>
            </a:r>
            <a:r>
              <a:rPr sz="16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spc="-10" dirty="0">
                <a:solidFill>
                  <a:srgbClr val="6D6E71"/>
                </a:solidFill>
                <a:latin typeface="Segoe UI"/>
                <a:cs typeface="Segoe UI"/>
              </a:rPr>
              <a:t>товарной</a:t>
            </a:r>
            <a:r>
              <a:rPr sz="1600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spc="-5" dirty="0">
                <a:solidFill>
                  <a:srgbClr val="6D6E71"/>
                </a:solidFill>
                <a:latin typeface="Segoe UI"/>
                <a:cs typeface="Segoe UI"/>
              </a:rPr>
              <a:t>группе</a:t>
            </a:r>
            <a:endParaRPr sz="1600">
              <a:latin typeface="Segoe UI"/>
              <a:cs typeface="Segoe U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939549" y="3362452"/>
            <a:ext cx="2973070" cy="510540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12700" marR="5080">
              <a:lnSpc>
                <a:spcPts val="1900"/>
              </a:lnSpc>
              <a:spcBef>
                <a:spcPts val="180"/>
              </a:spcBef>
            </a:pPr>
            <a:r>
              <a:rPr sz="1600" spc="-5" dirty="0">
                <a:solidFill>
                  <a:srgbClr val="6D6E71"/>
                </a:solidFill>
                <a:latin typeface="Segoe UI"/>
                <a:cs typeface="Segoe UI"/>
              </a:rPr>
              <a:t>Проверяем был ли эмитирован </a:t>
            </a:r>
            <a:r>
              <a:rPr sz="1600" spc="-4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spc="-20" dirty="0">
                <a:solidFill>
                  <a:srgbClr val="6D6E71"/>
                </a:solidFill>
                <a:latin typeface="Segoe UI"/>
                <a:cs typeface="Segoe UI"/>
              </a:rPr>
              <a:t>код</a:t>
            </a:r>
            <a:r>
              <a:rPr sz="16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spc="-5" dirty="0">
                <a:solidFill>
                  <a:srgbClr val="6D6E71"/>
                </a:solidFill>
                <a:latin typeface="Segoe UI"/>
                <a:cs typeface="Segoe UI"/>
              </a:rPr>
              <a:t>маркировки</a:t>
            </a:r>
            <a:endParaRPr sz="1600">
              <a:latin typeface="Segoe UI"/>
              <a:cs typeface="Segoe U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899550" y="3362452"/>
            <a:ext cx="1948814" cy="510540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12700" marR="5080">
              <a:lnSpc>
                <a:spcPts val="1900"/>
              </a:lnSpc>
              <a:spcBef>
                <a:spcPts val="180"/>
              </a:spcBef>
            </a:pPr>
            <a:r>
              <a:rPr sz="1600" spc="-5" dirty="0">
                <a:solidFill>
                  <a:srgbClr val="6D6E71"/>
                </a:solidFill>
                <a:latin typeface="Segoe UI"/>
                <a:cs typeface="Segoe UI"/>
              </a:rPr>
              <a:t>Проводим</a:t>
            </a:r>
            <a:r>
              <a:rPr sz="1600" spc="-6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spc="-5" dirty="0">
                <a:solidFill>
                  <a:srgbClr val="6D6E71"/>
                </a:solidFill>
                <a:latin typeface="Segoe UI"/>
                <a:cs typeface="Segoe UI"/>
              </a:rPr>
              <a:t>проверку </a:t>
            </a:r>
            <a:r>
              <a:rPr sz="1600" spc="-4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spc="-5" dirty="0">
                <a:solidFill>
                  <a:srgbClr val="6D6E71"/>
                </a:solidFill>
                <a:latin typeface="Segoe UI"/>
                <a:cs typeface="Segoe UI"/>
              </a:rPr>
              <a:t>крипто-подписи</a:t>
            </a:r>
            <a:endParaRPr sz="1600">
              <a:latin typeface="Segoe UI"/>
              <a:cs typeface="Segoe U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03299" y="4996179"/>
            <a:ext cx="884872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b="1" spc="-5" dirty="0">
                <a:solidFill>
                  <a:srgbClr val="6D6E71"/>
                </a:solidFill>
                <a:latin typeface="Segoe UI"/>
                <a:cs typeface="Segoe UI"/>
              </a:rPr>
              <a:t>Если</a:t>
            </a:r>
            <a:r>
              <a:rPr sz="1600" b="1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b="1" spc="-15" dirty="0">
                <a:solidFill>
                  <a:srgbClr val="6D6E71"/>
                </a:solidFill>
                <a:latin typeface="Segoe UI"/>
                <a:cs typeface="Segoe UI"/>
              </a:rPr>
              <a:t>хотя</a:t>
            </a:r>
            <a:r>
              <a:rPr sz="1600" b="1" spc="-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b="1" dirty="0">
                <a:solidFill>
                  <a:srgbClr val="6D6E71"/>
                </a:solidFill>
                <a:latin typeface="Segoe UI"/>
                <a:cs typeface="Segoe UI"/>
              </a:rPr>
              <a:t>бы</a:t>
            </a:r>
            <a:r>
              <a:rPr sz="1600" b="1" spc="-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b="1" spc="-10" dirty="0">
                <a:solidFill>
                  <a:srgbClr val="6D6E71"/>
                </a:solidFill>
                <a:latin typeface="Segoe UI"/>
                <a:cs typeface="Segoe UI"/>
              </a:rPr>
              <a:t>одно </a:t>
            </a:r>
            <a:r>
              <a:rPr sz="1600" b="1" spc="-5" dirty="0">
                <a:solidFill>
                  <a:srgbClr val="6D6E71"/>
                </a:solidFill>
                <a:latin typeface="Segoe UI"/>
                <a:cs typeface="Segoe UI"/>
              </a:rPr>
              <a:t>условие не</a:t>
            </a:r>
            <a:r>
              <a:rPr sz="1600" b="1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b="1" spc="-5" dirty="0">
                <a:solidFill>
                  <a:srgbClr val="6D6E71"/>
                </a:solidFill>
                <a:latin typeface="Segoe UI"/>
                <a:cs typeface="Segoe UI"/>
              </a:rPr>
              <a:t>выполнено,</a:t>
            </a:r>
            <a:r>
              <a:rPr sz="1600" b="1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b="1" spc="-15" dirty="0">
                <a:solidFill>
                  <a:srgbClr val="6D6E71"/>
                </a:solidFill>
                <a:latin typeface="Segoe UI"/>
                <a:cs typeface="Segoe UI"/>
              </a:rPr>
              <a:t>то</a:t>
            </a:r>
            <a:r>
              <a:rPr sz="1600" b="1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b="1" spc="-15" dirty="0">
                <a:solidFill>
                  <a:srgbClr val="6D6E71"/>
                </a:solidFill>
                <a:latin typeface="Segoe UI"/>
                <a:cs typeface="Segoe UI"/>
              </a:rPr>
              <a:t>код</a:t>
            </a:r>
            <a:r>
              <a:rPr sz="1600" b="1" spc="-5" dirty="0">
                <a:solidFill>
                  <a:srgbClr val="6D6E71"/>
                </a:solidFill>
                <a:latin typeface="Segoe UI"/>
                <a:cs typeface="Segoe UI"/>
              </a:rPr>
              <a:t> маркировки</a:t>
            </a:r>
            <a:r>
              <a:rPr sz="1600" b="1" spc="-10" dirty="0">
                <a:solidFill>
                  <a:srgbClr val="6D6E71"/>
                </a:solidFill>
                <a:latin typeface="Segoe UI"/>
                <a:cs typeface="Segoe UI"/>
              </a:rPr>
              <a:t> считается</a:t>
            </a:r>
            <a:r>
              <a:rPr sz="1600" b="1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b="1" spc="-5" dirty="0">
                <a:solidFill>
                  <a:srgbClr val="6D6E71"/>
                </a:solidFill>
                <a:latin typeface="Segoe UI"/>
                <a:cs typeface="Segoe UI"/>
              </a:rPr>
              <a:t>не</a:t>
            </a:r>
            <a:r>
              <a:rPr sz="1600" b="1" spc="-10" dirty="0">
                <a:solidFill>
                  <a:srgbClr val="6D6E71"/>
                </a:solidFill>
                <a:latin typeface="Segoe UI"/>
                <a:cs typeface="Segoe UI"/>
              </a:rPr>
              <a:t> корректным</a:t>
            </a:r>
            <a:endParaRPr sz="1600">
              <a:latin typeface="Segoe UI"/>
              <a:cs typeface="Segoe U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515999" y="5577214"/>
            <a:ext cx="11160125" cy="1052195"/>
          </a:xfrm>
          <a:custGeom>
            <a:avLst/>
            <a:gdLst/>
            <a:ahLst/>
            <a:cxnLst/>
            <a:rect l="l" t="t" r="r" b="b"/>
            <a:pathLst>
              <a:path w="11160125" h="1052195">
                <a:moveTo>
                  <a:pt x="10984629" y="0"/>
                </a:moveTo>
                <a:lnTo>
                  <a:pt x="175369" y="0"/>
                </a:lnTo>
                <a:lnTo>
                  <a:pt x="128749" y="6264"/>
                </a:lnTo>
                <a:lnTo>
                  <a:pt x="86857" y="23943"/>
                </a:lnTo>
                <a:lnTo>
                  <a:pt x="51364" y="51364"/>
                </a:lnTo>
                <a:lnTo>
                  <a:pt x="23943" y="86857"/>
                </a:lnTo>
                <a:lnTo>
                  <a:pt x="6264" y="128749"/>
                </a:lnTo>
                <a:lnTo>
                  <a:pt x="0" y="175369"/>
                </a:lnTo>
                <a:lnTo>
                  <a:pt x="0" y="876814"/>
                </a:lnTo>
                <a:lnTo>
                  <a:pt x="6264" y="923434"/>
                </a:lnTo>
                <a:lnTo>
                  <a:pt x="23943" y="965327"/>
                </a:lnTo>
                <a:lnTo>
                  <a:pt x="51364" y="1000819"/>
                </a:lnTo>
                <a:lnTo>
                  <a:pt x="86857" y="1028241"/>
                </a:lnTo>
                <a:lnTo>
                  <a:pt x="128749" y="1045920"/>
                </a:lnTo>
                <a:lnTo>
                  <a:pt x="175369" y="1052184"/>
                </a:lnTo>
                <a:lnTo>
                  <a:pt x="10984629" y="1052184"/>
                </a:lnTo>
                <a:lnTo>
                  <a:pt x="11031249" y="1045920"/>
                </a:lnTo>
                <a:lnTo>
                  <a:pt x="11073142" y="1028241"/>
                </a:lnTo>
                <a:lnTo>
                  <a:pt x="11108634" y="1000819"/>
                </a:lnTo>
                <a:lnTo>
                  <a:pt x="11136056" y="965327"/>
                </a:lnTo>
                <a:lnTo>
                  <a:pt x="11153734" y="923434"/>
                </a:lnTo>
                <a:lnTo>
                  <a:pt x="11159999" y="876814"/>
                </a:lnTo>
                <a:lnTo>
                  <a:pt x="11159999" y="175369"/>
                </a:lnTo>
                <a:lnTo>
                  <a:pt x="11153734" y="128749"/>
                </a:lnTo>
                <a:lnTo>
                  <a:pt x="11136056" y="86857"/>
                </a:lnTo>
                <a:lnTo>
                  <a:pt x="11108634" y="51364"/>
                </a:lnTo>
                <a:lnTo>
                  <a:pt x="11073142" y="23943"/>
                </a:lnTo>
                <a:lnTo>
                  <a:pt x="11031249" y="6264"/>
                </a:lnTo>
                <a:lnTo>
                  <a:pt x="10984629" y="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1994663" y="5878067"/>
            <a:ext cx="9417050" cy="440055"/>
          </a:xfrm>
          <a:prstGeom prst="rect">
            <a:avLst/>
          </a:prstGeom>
        </p:spPr>
        <p:txBody>
          <a:bodyPr vert="horz" wrap="square" lIns="0" tIns="29845" rIns="0" bIns="0" rtlCol="0">
            <a:spAutoFit/>
          </a:bodyPr>
          <a:lstStyle/>
          <a:p>
            <a:pPr marL="12700" marR="5080">
              <a:lnSpc>
                <a:spcPts val="1580"/>
              </a:lnSpc>
              <a:spcBef>
                <a:spcPts val="235"/>
              </a:spcBef>
            </a:pPr>
            <a:r>
              <a:rPr sz="1400" b="1" dirty="0">
                <a:solidFill>
                  <a:srgbClr val="FFFFFF"/>
                </a:solidFill>
                <a:latin typeface="Segoe UI"/>
                <a:cs typeface="Segoe UI"/>
              </a:rPr>
              <a:t>В </a:t>
            </a:r>
            <a:r>
              <a:rPr sz="1400" b="1" spc="-5" dirty="0">
                <a:solidFill>
                  <a:srgbClr val="FFFFFF"/>
                </a:solidFill>
                <a:latin typeface="Segoe UI"/>
                <a:cs typeface="Segoe UI"/>
              </a:rPr>
              <a:t>случае</a:t>
            </a:r>
            <a:r>
              <a:rPr sz="1400" b="1" spc="10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400" b="1" dirty="0">
                <a:solidFill>
                  <a:srgbClr val="FFFFFF"/>
                </a:solidFill>
                <a:latin typeface="Segoe UI"/>
                <a:cs typeface="Segoe UI"/>
              </a:rPr>
              <a:t>если </a:t>
            </a:r>
            <a:r>
              <a:rPr sz="1400" b="1" spc="-15" dirty="0">
                <a:solidFill>
                  <a:srgbClr val="FFFFFF"/>
                </a:solidFill>
                <a:latin typeface="Segoe UI"/>
                <a:cs typeface="Segoe UI"/>
              </a:rPr>
              <a:t>код</a:t>
            </a:r>
            <a:r>
              <a:rPr sz="1400" b="1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Segoe UI"/>
                <a:cs typeface="Segoe UI"/>
              </a:rPr>
              <a:t>маркировки</a:t>
            </a:r>
            <a:r>
              <a:rPr sz="1400" b="1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Segoe UI"/>
                <a:cs typeface="Segoe UI"/>
              </a:rPr>
              <a:t>прошел</a:t>
            </a:r>
            <a:r>
              <a:rPr sz="1400" b="1" spc="10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Segoe UI"/>
                <a:cs typeface="Segoe UI"/>
              </a:rPr>
              <a:t>проверку</a:t>
            </a:r>
            <a:r>
              <a:rPr sz="1400" b="1" dirty="0">
                <a:solidFill>
                  <a:srgbClr val="FFFFFF"/>
                </a:solidFill>
                <a:latin typeface="Segoe UI"/>
                <a:cs typeface="Segoe UI"/>
              </a:rPr>
              <a:t> (успешно выполнены все</a:t>
            </a:r>
            <a:r>
              <a:rPr sz="1400" b="1" spc="5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Segoe UI"/>
                <a:cs typeface="Segoe UI"/>
              </a:rPr>
              <a:t>этапы),</a:t>
            </a:r>
            <a:r>
              <a:rPr sz="1400" b="1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Segoe UI"/>
                <a:cs typeface="Segoe UI"/>
              </a:rPr>
              <a:t>то</a:t>
            </a:r>
            <a:r>
              <a:rPr sz="1400" b="1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Segoe UI"/>
                <a:cs typeface="Segoe UI"/>
              </a:rPr>
              <a:t>система</a:t>
            </a:r>
            <a:r>
              <a:rPr sz="1400" b="1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Segoe UI"/>
                <a:cs typeface="Segoe UI"/>
              </a:rPr>
              <a:t>маркировки </a:t>
            </a:r>
            <a:r>
              <a:rPr sz="1400" b="1" spc="-370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Segoe UI"/>
                <a:cs typeface="Segoe UI"/>
              </a:rPr>
              <a:t>всегда считает,</a:t>
            </a:r>
            <a:r>
              <a:rPr sz="1400" b="1" spc="-5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Segoe UI"/>
                <a:cs typeface="Segoe UI"/>
              </a:rPr>
              <a:t>что</a:t>
            </a:r>
            <a:r>
              <a:rPr sz="1400" b="1" spc="-5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400" b="1" dirty="0">
                <a:solidFill>
                  <a:srgbClr val="FFFFFF"/>
                </a:solidFill>
                <a:latin typeface="Segoe UI"/>
                <a:cs typeface="Segoe UI"/>
              </a:rPr>
              <a:t>статуса</a:t>
            </a:r>
            <a:r>
              <a:rPr sz="1400" b="1" spc="-5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Segoe UI"/>
                <a:cs typeface="Segoe UI"/>
              </a:rPr>
              <a:t>товара</a:t>
            </a:r>
            <a:r>
              <a:rPr sz="1400" b="1" spc="-5" dirty="0">
                <a:solidFill>
                  <a:srgbClr val="FFFFFF"/>
                </a:solidFill>
                <a:latin typeface="Segoe UI"/>
                <a:cs typeface="Segoe UI"/>
              </a:rPr>
              <a:t> верный!</a:t>
            </a:r>
            <a:endParaRPr sz="1400">
              <a:latin typeface="Segoe UI"/>
              <a:cs typeface="Segoe UI"/>
            </a:endParaRPr>
          </a:p>
        </p:txBody>
      </p:sp>
      <p:pic>
        <p:nvPicPr>
          <p:cNvPr id="10" name="object 10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21258" y="5739900"/>
            <a:ext cx="719999" cy="719999"/>
          </a:xfrm>
          <a:prstGeom prst="rect">
            <a:avLst/>
          </a:prstGeom>
        </p:spPr>
      </p:pic>
      <p:grpSp>
        <p:nvGrpSpPr>
          <p:cNvPr id="11" name="object 11"/>
          <p:cNvGrpSpPr/>
          <p:nvPr/>
        </p:nvGrpSpPr>
        <p:grpSpPr>
          <a:xfrm>
            <a:off x="515999" y="1822787"/>
            <a:ext cx="11160125" cy="1550670"/>
            <a:chOff x="515999" y="1822787"/>
            <a:chExt cx="11160125" cy="1550670"/>
          </a:xfrm>
        </p:grpSpPr>
        <p:sp>
          <p:nvSpPr>
            <p:cNvPr id="12" name="object 12"/>
            <p:cNvSpPr/>
            <p:nvPr/>
          </p:nvSpPr>
          <p:spPr>
            <a:xfrm>
              <a:off x="515999" y="2599766"/>
              <a:ext cx="11160125" cy="76200"/>
            </a:xfrm>
            <a:custGeom>
              <a:avLst/>
              <a:gdLst/>
              <a:ahLst/>
              <a:cxnLst/>
              <a:rect l="l" t="t" r="r" b="b"/>
              <a:pathLst>
                <a:path w="11160125" h="76200">
                  <a:moveTo>
                    <a:pt x="25400" y="25398"/>
                  </a:moveTo>
                  <a:lnTo>
                    <a:pt x="0" y="25398"/>
                  </a:lnTo>
                  <a:lnTo>
                    <a:pt x="0" y="50798"/>
                  </a:lnTo>
                  <a:lnTo>
                    <a:pt x="25400" y="50798"/>
                  </a:lnTo>
                  <a:lnTo>
                    <a:pt x="25400" y="25398"/>
                  </a:lnTo>
                  <a:close/>
                </a:path>
                <a:path w="11160125" h="76200">
                  <a:moveTo>
                    <a:pt x="76200" y="25398"/>
                  </a:moveTo>
                  <a:lnTo>
                    <a:pt x="50800" y="25398"/>
                  </a:lnTo>
                  <a:lnTo>
                    <a:pt x="50800" y="50798"/>
                  </a:lnTo>
                  <a:lnTo>
                    <a:pt x="76200" y="50798"/>
                  </a:lnTo>
                  <a:lnTo>
                    <a:pt x="76200" y="25398"/>
                  </a:lnTo>
                  <a:close/>
                </a:path>
                <a:path w="11160125" h="76200">
                  <a:moveTo>
                    <a:pt x="127000" y="25398"/>
                  </a:moveTo>
                  <a:lnTo>
                    <a:pt x="101600" y="25398"/>
                  </a:lnTo>
                  <a:lnTo>
                    <a:pt x="101600" y="50798"/>
                  </a:lnTo>
                  <a:lnTo>
                    <a:pt x="127000" y="50798"/>
                  </a:lnTo>
                  <a:lnTo>
                    <a:pt x="127000" y="25398"/>
                  </a:lnTo>
                  <a:close/>
                </a:path>
                <a:path w="11160125" h="76200">
                  <a:moveTo>
                    <a:pt x="177800" y="25398"/>
                  </a:moveTo>
                  <a:lnTo>
                    <a:pt x="152400" y="25398"/>
                  </a:lnTo>
                  <a:lnTo>
                    <a:pt x="152400" y="50798"/>
                  </a:lnTo>
                  <a:lnTo>
                    <a:pt x="177800" y="50798"/>
                  </a:lnTo>
                  <a:lnTo>
                    <a:pt x="177800" y="25398"/>
                  </a:lnTo>
                  <a:close/>
                </a:path>
                <a:path w="11160125" h="76200">
                  <a:moveTo>
                    <a:pt x="228600" y="25398"/>
                  </a:moveTo>
                  <a:lnTo>
                    <a:pt x="203200" y="25398"/>
                  </a:lnTo>
                  <a:lnTo>
                    <a:pt x="203200" y="50798"/>
                  </a:lnTo>
                  <a:lnTo>
                    <a:pt x="228600" y="50798"/>
                  </a:lnTo>
                  <a:lnTo>
                    <a:pt x="228600" y="25398"/>
                  </a:lnTo>
                  <a:close/>
                </a:path>
                <a:path w="11160125" h="76200">
                  <a:moveTo>
                    <a:pt x="279400" y="25398"/>
                  </a:moveTo>
                  <a:lnTo>
                    <a:pt x="254000" y="25398"/>
                  </a:lnTo>
                  <a:lnTo>
                    <a:pt x="254000" y="50798"/>
                  </a:lnTo>
                  <a:lnTo>
                    <a:pt x="279400" y="50798"/>
                  </a:lnTo>
                  <a:lnTo>
                    <a:pt x="279400" y="25398"/>
                  </a:lnTo>
                  <a:close/>
                </a:path>
                <a:path w="11160125" h="76200">
                  <a:moveTo>
                    <a:pt x="330200" y="25398"/>
                  </a:moveTo>
                  <a:lnTo>
                    <a:pt x="304800" y="25398"/>
                  </a:lnTo>
                  <a:lnTo>
                    <a:pt x="304800" y="50798"/>
                  </a:lnTo>
                  <a:lnTo>
                    <a:pt x="330200" y="50798"/>
                  </a:lnTo>
                  <a:lnTo>
                    <a:pt x="330200" y="25398"/>
                  </a:lnTo>
                  <a:close/>
                </a:path>
                <a:path w="11160125" h="76200">
                  <a:moveTo>
                    <a:pt x="381000" y="25398"/>
                  </a:moveTo>
                  <a:lnTo>
                    <a:pt x="355600" y="25398"/>
                  </a:lnTo>
                  <a:lnTo>
                    <a:pt x="355600" y="50798"/>
                  </a:lnTo>
                  <a:lnTo>
                    <a:pt x="381000" y="50798"/>
                  </a:lnTo>
                  <a:lnTo>
                    <a:pt x="381000" y="25398"/>
                  </a:lnTo>
                  <a:close/>
                </a:path>
                <a:path w="11160125" h="76200">
                  <a:moveTo>
                    <a:pt x="431800" y="25398"/>
                  </a:moveTo>
                  <a:lnTo>
                    <a:pt x="406400" y="25398"/>
                  </a:lnTo>
                  <a:lnTo>
                    <a:pt x="406400" y="50798"/>
                  </a:lnTo>
                  <a:lnTo>
                    <a:pt x="431800" y="50798"/>
                  </a:lnTo>
                  <a:lnTo>
                    <a:pt x="431800" y="25398"/>
                  </a:lnTo>
                  <a:close/>
                </a:path>
                <a:path w="11160125" h="76200">
                  <a:moveTo>
                    <a:pt x="482600" y="25398"/>
                  </a:moveTo>
                  <a:lnTo>
                    <a:pt x="457200" y="25398"/>
                  </a:lnTo>
                  <a:lnTo>
                    <a:pt x="457200" y="50798"/>
                  </a:lnTo>
                  <a:lnTo>
                    <a:pt x="482600" y="50798"/>
                  </a:lnTo>
                  <a:lnTo>
                    <a:pt x="482600" y="25398"/>
                  </a:lnTo>
                  <a:close/>
                </a:path>
                <a:path w="11160125" h="76200">
                  <a:moveTo>
                    <a:pt x="533400" y="25398"/>
                  </a:moveTo>
                  <a:lnTo>
                    <a:pt x="508000" y="25398"/>
                  </a:lnTo>
                  <a:lnTo>
                    <a:pt x="508000" y="50798"/>
                  </a:lnTo>
                  <a:lnTo>
                    <a:pt x="533400" y="50798"/>
                  </a:lnTo>
                  <a:lnTo>
                    <a:pt x="533400" y="25398"/>
                  </a:lnTo>
                  <a:close/>
                </a:path>
                <a:path w="11160125" h="76200">
                  <a:moveTo>
                    <a:pt x="584200" y="25398"/>
                  </a:moveTo>
                  <a:lnTo>
                    <a:pt x="558800" y="25398"/>
                  </a:lnTo>
                  <a:lnTo>
                    <a:pt x="558800" y="50798"/>
                  </a:lnTo>
                  <a:lnTo>
                    <a:pt x="584200" y="50798"/>
                  </a:lnTo>
                  <a:lnTo>
                    <a:pt x="584200" y="25398"/>
                  </a:lnTo>
                  <a:close/>
                </a:path>
                <a:path w="11160125" h="76200">
                  <a:moveTo>
                    <a:pt x="635000" y="25398"/>
                  </a:moveTo>
                  <a:lnTo>
                    <a:pt x="609600" y="25398"/>
                  </a:lnTo>
                  <a:lnTo>
                    <a:pt x="609600" y="50798"/>
                  </a:lnTo>
                  <a:lnTo>
                    <a:pt x="635000" y="50798"/>
                  </a:lnTo>
                  <a:lnTo>
                    <a:pt x="635000" y="25398"/>
                  </a:lnTo>
                  <a:close/>
                </a:path>
                <a:path w="11160125" h="76200">
                  <a:moveTo>
                    <a:pt x="685800" y="25398"/>
                  </a:moveTo>
                  <a:lnTo>
                    <a:pt x="660400" y="25398"/>
                  </a:lnTo>
                  <a:lnTo>
                    <a:pt x="660400" y="50798"/>
                  </a:lnTo>
                  <a:lnTo>
                    <a:pt x="685800" y="50798"/>
                  </a:lnTo>
                  <a:lnTo>
                    <a:pt x="685800" y="25398"/>
                  </a:lnTo>
                  <a:close/>
                </a:path>
                <a:path w="11160125" h="76200">
                  <a:moveTo>
                    <a:pt x="736600" y="25398"/>
                  </a:moveTo>
                  <a:lnTo>
                    <a:pt x="711200" y="25398"/>
                  </a:lnTo>
                  <a:lnTo>
                    <a:pt x="711200" y="50798"/>
                  </a:lnTo>
                  <a:lnTo>
                    <a:pt x="736600" y="50798"/>
                  </a:lnTo>
                  <a:lnTo>
                    <a:pt x="736600" y="25398"/>
                  </a:lnTo>
                  <a:close/>
                </a:path>
                <a:path w="11160125" h="76200">
                  <a:moveTo>
                    <a:pt x="787399" y="25398"/>
                  </a:moveTo>
                  <a:lnTo>
                    <a:pt x="761999" y="25398"/>
                  </a:lnTo>
                  <a:lnTo>
                    <a:pt x="761999" y="50798"/>
                  </a:lnTo>
                  <a:lnTo>
                    <a:pt x="787399" y="50798"/>
                  </a:lnTo>
                  <a:lnTo>
                    <a:pt x="787399" y="25398"/>
                  </a:lnTo>
                  <a:close/>
                </a:path>
                <a:path w="11160125" h="76200">
                  <a:moveTo>
                    <a:pt x="838199" y="25398"/>
                  </a:moveTo>
                  <a:lnTo>
                    <a:pt x="812799" y="25398"/>
                  </a:lnTo>
                  <a:lnTo>
                    <a:pt x="812799" y="50798"/>
                  </a:lnTo>
                  <a:lnTo>
                    <a:pt x="838199" y="50798"/>
                  </a:lnTo>
                  <a:lnTo>
                    <a:pt x="838199" y="25398"/>
                  </a:lnTo>
                  <a:close/>
                </a:path>
                <a:path w="11160125" h="76200">
                  <a:moveTo>
                    <a:pt x="888999" y="25398"/>
                  </a:moveTo>
                  <a:lnTo>
                    <a:pt x="863599" y="25398"/>
                  </a:lnTo>
                  <a:lnTo>
                    <a:pt x="863599" y="50798"/>
                  </a:lnTo>
                  <a:lnTo>
                    <a:pt x="888999" y="50798"/>
                  </a:lnTo>
                  <a:lnTo>
                    <a:pt x="888999" y="25398"/>
                  </a:lnTo>
                  <a:close/>
                </a:path>
                <a:path w="11160125" h="76200">
                  <a:moveTo>
                    <a:pt x="939799" y="25398"/>
                  </a:moveTo>
                  <a:lnTo>
                    <a:pt x="914399" y="25398"/>
                  </a:lnTo>
                  <a:lnTo>
                    <a:pt x="914399" y="50798"/>
                  </a:lnTo>
                  <a:lnTo>
                    <a:pt x="939799" y="50798"/>
                  </a:lnTo>
                  <a:lnTo>
                    <a:pt x="939799" y="25398"/>
                  </a:lnTo>
                  <a:close/>
                </a:path>
                <a:path w="11160125" h="76200">
                  <a:moveTo>
                    <a:pt x="990599" y="25398"/>
                  </a:moveTo>
                  <a:lnTo>
                    <a:pt x="965199" y="25398"/>
                  </a:lnTo>
                  <a:lnTo>
                    <a:pt x="965199" y="50798"/>
                  </a:lnTo>
                  <a:lnTo>
                    <a:pt x="990599" y="50798"/>
                  </a:lnTo>
                  <a:lnTo>
                    <a:pt x="990599" y="25398"/>
                  </a:lnTo>
                  <a:close/>
                </a:path>
                <a:path w="11160125" h="76200">
                  <a:moveTo>
                    <a:pt x="1041399" y="25398"/>
                  </a:moveTo>
                  <a:lnTo>
                    <a:pt x="1015999" y="25398"/>
                  </a:lnTo>
                  <a:lnTo>
                    <a:pt x="1015999" y="50798"/>
                  </a:lnTo>
                  <a:lnTo>
                    <a:pt x="1041399" y="50798"/>
                  </a:lnTo>
                  <a:lnTo>
                    <a:pt x="1041399" y="25398"/>
                  </a:lnTo>
                  <a:close/>
                </a:path>
                <a:path w="11160125" h="76200">
                  <a:moveTo>
                    <a:pt x="1092199" y="25398"/>
                  </a:moveTo>
                  <a:lnTo>
                    <a:pt x="1066799" y="25398"/>
                  </a:lnTo>
                  <a:lnTo>
                    <a:pt x="1066799" y="50798"/>
                  </a:lnTo>
                  <a:lnTo>
                    <a:pt x="1092199" y="50798"/>
                  </a:lnTo>
                  <a:lnTo>
                    <a:pt x="1092199" y="25398"/>
                  </a:lnTo>
                  <a:close/>
                </a:path>
                <a:path w="11160125" h="76200">
                  <a:moveTo>
                    <a:pt x="1142999" y="25398"/>
                  </a:moveTo>
                  <a:lnTo>
                    <a:pt x="1117599" y="25398"/>
                  </a:lnTo>
                  <a:lnTo>
                    <a:pt x="1117599" y="50798"/>
                  </a:lnTo>
                  <a:lnTo>
                    <a:pt x="1142999" y="50798"/>
                  </a:lnTo>
                  <a:lnTo>
                    <a:pt x="1142999" y="25398"/>
                  </a:lnTo>
                  <a:close/>
                </a:path>
                <a:path w="11160125" h="76200">
                  <a:moveTo>
                    <a:pt x="1193799" y="25398"/>
                  </a:moveTo>
                  <a:lnTo>
                    <a:pt x="1168399" y="25398"/>
                  </a:lnTo>
                  <a:lnTo>
                    <a:pt x="1168399" y="50798"/>
                  </a:lnTo>
                  <a:lnTo>
                    <a:pt x="1193799" y="50798"/>
                  </a:lnTo>
                  <a:lnTo>
                    <a:pt x="1193799" y="25398"/>
                  </a:lnTo>
                  <a:close/>
                </a:path>
                <a:path w="11160125" h="76200">
                  <a:moveTo>
                    <a:pt x="1244599" y="25398"/>
                  </a:moveTo>
                  <a:lnTo>
                    <a:pt x="1219199" y="25398"/>
                  </a:lnTo>
                  <a:lnTo>
                    <a:pt x="1219199" y="50798"/>
                  </a:lnTo>
                  <a:lnTo>
                    <a:pt x="1244599" y="50798"/>
                  </a:lnTo>
                  <a:lnTo>
                    <a:pt x="1244599" y="25398"/>
                  </a:lnTo>
                  <a:close/>
                </a:path>
                <a:path w="11160125" h="76200">
                  <a:moveTo>
                    <a:pt x="1295399" y="25398"/>
                  </a:moveTo>
                  <a:lnTo>
                    <a:pt x="1269999" y="25398"/>
                  </a:lnTo>
                  <a:lnTo>
                    <a:pt x="1269999" y="50798"/>
                  </a:lnTo>
                  <a:lnTo>
                    <a:pt x="1295399" y="50798"/>
                  </a:lnTo>
                  <a:lnTo>
                    <a:pt x="1295399" y="25398"/>
                  </a:lnTo>
                  <a:close/>
                </a:path>
                <a:path w="11160125" h="76200">
                  <a:moveTo>
                    <a:pt x="1346199" y="25398"/>
                  </a:moveTo>
                  <a:lnTo>
                    <a:pt x="1320799" y="25398"/>
                  </a:lnTo>
                  <a:lnTo>
                    <a:pt x="1320799" y="50798"/>
                  </a:lnTo>
                  <a:lnTo>
                    <a:pt x="1346199" y="50798"/>
                  </a:lnTo>
                  <a:lnTo>
                    <a:pt x="1346199" y="25398"/>
                  </a:lnTo>
                  <a:close/>
                </a:path>
                <a:path w="11160125" h="76200">
                  <a:moveTo>
                    <a:pt x="1396999" y="25398"/>
                  </a:moveTo>
                  <a:lnTo>
                    <a:pt x="1371599" y="25398"/>
                  </a:lnTo>
                  <a:lnTo>
                    <a:pt x="1371599" y="50798"/>
                  </a:lnTo>
                  <a:lnTo>
                    <a:pt x="1396999" y="50798"/>
                  </a:lnTo>
                  <a:lnTo>
                    <a:pt x="1396999" y="25398"/>
                  </a:lnTo>
                  <a:close/>
                </a:path>
                <a:path w="11160125" h="76200">
                  <a:moveTo>
                    <a:pt x="1447799" y="25398"/>
                  </a:moveTo>
                  <a:lnTo>
                    <a:pt x="1422399" y="25398"/>
                  </a:lnTo>
                  <a:lnTo>
                    <a:pt x="1422399" y="50798"/>
                  </a:lnTo>
                  <a:lnTo>
                    <a:pt x="1447799" y="50798"/>
                  </a:lnTo>
                  <a:lnTo>
                    <a:pt x="1447799" y="25398"/>
                  </a:lnTo>
                  <a:close/>
                </a:path>
                <a:path w="11160125" h="76200">
                  <a:moveTo>
                    <a:pt x="1498599" y="25398"/>
                  </a:moveTo>
                  <a:lnTo>
                    <a:pt x="1473199" y="25398"/>
                  </a:lnTo>
                  <a:lnTo>
                    <a:pt x="1473199" y="50798"/>
                  </a:lnTo>
                  <a:lnTo>
                    <a:pt x="1498599" y="50798"/>
                  </a:lnTo>
                  <a:lnTo>
                    <a:pt x="1498599" y="25398"/>
                  </a:lnTo>
                  <a:close/>
                </a:path>
                <a:path w="11160125" h="76200">
                  <a:moveTo>
                    <a:pt x="1549399" y="25398"/>
                  </a:moveTo>
                  <a:lnTo>
                    <a:pt x="1523999" y="25398"/>
                  </a:lnTo>
                  <a:lnTo>
                    <a:pt x="1523999" y="50798"/>
                  </a:lnTo>
                  <a:lnTo>
                    <a:pt x="1549399" y="50798"/>
                  </a:lnTo>
                  <a:lnTo>
                    <a:pt x="1549399" y="25398"/>
                  </a:lnTo>
                  <a:close/>
                </a:path>
                <a:path w="11160125" h="76200">
                  <a:moveTo>
                    <a:pt x="1600199" y="25398"/>
                  </a:moveTo>
                  <a:lnTo>
                    <a:pt x="1574799" y="25398"/>
                  </a:lnTo>
                  <a:lnTo>
                    <a:pt x="1574799" y="50798"/>
                  </a:lnTo>
                  <a:lnTo>
                    <a:pt x="1600199" y="50798"/>
                  </a:lnTo>
                  <a:lnTo>
                    <a:pt x="1600199" y="25398"/>
                  </a:lnTo>
                  <a:close/>
                </a:path>
                <a:path w="11160125" h="76200">
                  <a:moveTo>
                    <a:pt x="1650999" y="25398"/>
                  </a:moveTo>
                  <a:lnTo>
                    <a:pt x="1625599" y="25398"/>
                  </a:lnTo>
                  <a:lnTo>
                    <a:pt x="1625599" y="50798"/>
                  </a:lnTo>
                  <a:lnTo>
                    <a:pt x="1650999" y="50798"/>
                  </a:lnTo>
                  <a:lnTo>
                    <a:pt x="1650999" y="25398"/>
                  </a:lnTo>
                  <a:close/>
                </a:path>
                <a:path w="11160125" h="76200">
                  <a:moveTo>
                    <a:pt x="1701799" y="25398"/>
                  </a:moveTo>
                  <a:lnTo>
                    <a:pt x="1676399" y="25398"/>
                  </a:lnTo>
                  <a:lnTo>
                    <a:pt x="1676399" y="50798"/>
                  </a:lnTo>
                  <a:lnTo>
                    <a:pt x="1701799" y="50798"/>
                  </a:lnTo>
                  <a:lnTo>
                    <a:pt x="1701799" y="25398"/>
                  </a:lnTo>
                  <a:close/>
                </a:path>
                <a:path w="11160125" h="76200">
                  <a:moveTo>
                    <a:pt x="1752599" y="25398"/>
                  </a:moveTo>
                  <a:lnTo>
                    <a:pt x="1727199" y="25398"/>
                  </a:lnTo>
                  <a:lnTo>
                    <a:pt x="1727199" y="50798"/>
                  </a:lnTo>
                  <a:lnTo>
                    <a:pt x="1752599" y="50798"/>
                  </a:lnTo>
                  <a:lnTo>
                    <a:pt x="1752599" y="25398"/>
                  </a:lnTo>
                  <a:close/>
                </a:path>
                <a:path w="11160125" h="76200">
                  <a:moveTo>
                    <a:pt x="1803399" y="25398"/>
                  </a:moveTo>
                  <a:lnTo>
                    <a:pt x="1777999" y="25398"/>
                  </a:lnTo>
                  <a:lnTo>
                    <a:pt x="1777999" y="50798"/>
                  </a:lnTo>
                  <a:lnTo>
                    <a:pt x="1803399" y="50798"/>
                  </a:lnTo>
                  <a:lnTo>
                    <a:pt x="1803399" y="25398"/>
                  </a:lnTo>
                  <a:close/>
                </a:path>
                <a:path w="11160125" h="76200">
                  <a:moveTo>
                    <a:pt x="1854199" y="25398"/>
                  </a:moveTo>
                  <a:lnTo>
                    <a:pt x="1828799" y="25398"/>
                  </a:lnTo>
                  <a:lnTo>
                    <a:pt x="1828799" y="50798"/>
                  </a:lnTo>
                  <a:lnTo>
                    <a:pt x="1854199" y="50798"/>
                  </a:lnTo>
                  <a:lnTo>
                    <a:pt x="1854199" y="25398"/>
                  </a:lnTo>
                  <a:close/>
                </a:path>
                <a:path w="11160125" h="76200">
                  <a:moveTo>
                    <a:pt x="1904999" y="25398"/>
                  </a:moveTo>
                  <a:lnTo>
                    <a:pt x="1879599" y="25398"/>
                  </a:lnTo>
                  <a:lnTo>
                    <a:pt x="1879599" y="50798"/>
                  </a:lnTo>
                  <a:lnTo>
                    <a:pt x="1904999" y="50798"/>
                  </a:lnTo>
                  <a:lnTo>
                    <a:pt x="1904999" y="25398"/>
                  </a:lnTo>
                  <a:close/>
                </a:path>
                <a:path w="11160125" h="76200">
                  <a:moveTo>
                    <a:pt x="1955799" y="25398"/>
                  </a:moveTo>
                  <a:lnTo>
                    <a:pt x="1930399" y="25398"/>
                  </a:lnTo>
                  <a:lnTo>
                    <a:pt x="1930399" y="50798"/>
                  </a:lnTo>
                  <a:lnTo>
                    <a:pt x="1955799" y="50798"/>
                  </a:lnTo>
                  <a:lnTo>
                    <a:pt x="1955799" y="25398"/>
                  </a:lnTo>
                  <a:close/>
                </a:path>
                <a:path w="11160125" h="76200">
                  <a:moveTo>
                    <a:pt x="2006599" y="25398"/>
                  </a:moveTo>
                  <a:lnTo>
                    <a:pt x="1981199" y="25398"/>
                  </a:lnTo>
                  <a:lnTo>
                    <a:pt x="1981199" y="50798"/>
                  </a:lnTo>
                  <a:lnTo>
                    <a:pt x="2006599" y="50798"/>
                  </a:lnTo>
                  <a:lnTo>
                    <a:pt x="2006599" y="25398"/>
                  </a:lnTo>
                  <a:close/>
                </a:path>
                <a:path w="11160125" h="76200">
                  <a:moveTo>
                    <a:pt x="2057399" y="25398"/>
                  </a:moveTo>
                  <a:lnTo>
                    <a:pt x="2031999" y="25398"/>
                  </a:lnTo>
                  <a:lnTo>
                    <a:pt x="2031999" y="50798"/>
                  </a:lnTo>
                  <a:lnTo>
                    <a:pt x="2057399" y="50798"/>
                  </a:lnTo>
                  <a:lnTo>
                    <a:pt x="2057399" y="25398"/>
                  </a:lnTo>
                  <a:close/>
                </a:path>
                <a:path w="11160125" h="76200">
                  <a:moveTo>
                    <a:pt x="2108199" y="25398"/>
                  </a:moveTo>
                  <a:lnTo>
                    <a:pt x="2082799" y="25398"/>
                  </a:lnTo>
                  <a:lnTo>
                    <a:pt x="2082799" y="50798"/>
                  </a:lnTo>
                  <a:lnTo>
                    <a:pt x="2108199" y="50798"/>
                  </a:lnTo>
                  <a:lnTo>
                    <a:pt x="2108199" y="25398"/>
                  </a:lnTo>
                  <a:close/>
                </a:path>
                <a:path w="11160125" h="76200">
                  <a:moveTo>
                    <a:pt x="2158999" y="25398"/>
                  </a:moveTo>
                  <a:lnTo>
                    <a:pt x="2133599" y="25398"/>
                  </a:lnTo>
                  <a:lnTo>
                    <a:pt x="2133599" y="50798"/>
                  </a:lnTo>
                  <a:lnTo>
                    <a:pt x="2158999" y="50798"/>
                  </a:lnTo>
                  <a:lnTo>
                    <a:pt x="2158999" y="25398"/>
                  </a:lnTo>
                  <a:close/>
                </a:path>
                <a:path w="11160125" h="76200">
                  <a:moveTo>
                    <a:pt x="2209799" y="25398"/>
                  </a:moveTo>
                  <a:lnTo>
                    <a:pt x="2184399" y="25398"/>
                  </a:lnTo>
                  <a:lnTo>
                    <a:pt x="2184399" y="50798"/>
                  </a:lnTo>
                  <a:lnTo>
                    <a:pt x="2209799" y="50798"/>
                  </a:lnTo>
                  <a:lnTo>
                    <a:pt x="2209799" y="25398"/>
                  </a:lnTo>
                  <a:close/>
                </a:path>
                <a:path w="11160125" h="76200">
                  <a:moveTo>
                    <a:pt x="2260599" y="25398"/>
                  </a:moveTo>
                  <a:lnTo>
                    <a:pt x="2235199" y="25398"/>
                  </a:lnTo>
                  <a:lnTo>
                    <a:pt x="2235199" y="50798"/>
                  </a:lnTo>
                  <a:lnTo>
                    <a:pt x="2260599" y="50798"/>
                  </a:lnTo>
                  <a:lnTo>
                    <a:pt x="2260599" y="25398"/>
                  </a:lnTo>
                  <a:close/>
                </a:path>
                <a:path w="11160125" h="76200">
                  <a:moveTo>
                    <a:pt x="2311399" y="25398"/>
                  </a:moveTo>
                  <a:lnTo>
                    <a:pt x="2285999" y="25398"/>
                  </a:lnTo>
                  <a:lnTo>
                    <a:pt x="2285999" y="50798"/>
                  </a:lnTo>
                  <a:lnTo>
                    <a:pt x="2311399" y="50798"/>
                  </a:lnTo>
                  <a:lnTo>
                    <a:pt x="2311399" y="25398"/>
                  </a:lnTo>
                  <a:close/>
                </a:path>
                <a:path w="11160125" h="76200">
                  <a:moveTo>
                    <a:pt x="2362199" y="25398"/>
                  </a:moveTo>
                  <a:lnTo>
                    <a:pt x="2336799" y="25398"/>
                  </a:lnTo>
                  <a:lnTo>
                    <a:pt x="2336799" y="50798"/>
                  </a:lnTo>
                  <a:lnTo>
                    <a:pt x="2362199" y="50798"/>
                  </a:lnTo>
                  <a:lnTo>
                    <a:pt x="2362199" y="25398"/>
                  </a:lnTo>
                  <a:close/>
                </a:path>
                <a:path w="11160125" h="76200">
                  <a:moveTo>
                    <a:pt x="2412999" y="25398"/>
                  </a:moveTo>
                  <a:lnTo>
                    <a:pt x="2387599" y="25398"/>
                  </a:lnTo>
                  <a:lnTo>
                    <a:pt x="2387599" y="50798"/>
                  </a:lnTo>
                  <a:lnTo>
                    <a:pt x="2412999" y="50798"/>
                  </a:lnTo>
                  <a:lnTo>
                    <a:pt x="2412999" y="25398"/>
                  </a:lnTo>
                  <a:close/>
                </a:path>
                <a:path w="11160125" h="76200">
                  <a:moveTo>
                    <a:pt x="2463799" y="25398"/>
                  </a:moveTo>
                  <a:lnTo>
                    <a:pt x="2438399" y="25398"/>
                  </a:lnTo>
                  <a:lnTo>
                    <a:pt x="2438399" y="50798"/>
                  </a:lnTo>
                  <a:lnTo>
                    <a:pt x="2463799" y="50798"/>
                  </a:lnTo>
                  <a:lnTo>
                    <a:pt x="2463799" y="25398"/>
                  </a:lnTo>
                  <a:close/>
                </a:path>
                <a:path w="11160125" h="76200">
                  <a:moveTo>
                    <a:pt x="2514599" y="25398"/>
                  </a:moveTo>
                  <a:lnTo>
                    <a:pt x="2489199" y="25398"/>
                  </a:lnTo>
                  <a:lnTo>
                    <a:pt x="2489199" y="50798"/>
                  </a:lnTo>
                  <a:lnTo>
                    <a:pt x="2514599" y="50798"/>
                  </a:lnTo>
                  <a:lnTo>
                    <a:pt x="2514599" y="25398"/>
                  </a:lnTo>
                  <a:close/>
                </a:path>
                <a:path w="11160125" h="76200">
                  <a:moveTo>
                    <a:pt x="2565399" y="25398"/>
                  </a:moveTo>
                  <a:lnTo>
                    <a:pt x="2539999" y="25398"/>
                  </a:lnTo>
                  <a:lnTo>
                    <a:pt x="2539999" y="50798"/>
                  </a:lnTo>
                  <a:lnTo>
                    <a:pt x="2565399" y="50798"/>
                  </a:lnTo>
                  <a:lnTo>
                    <a:pt x="2565399" y="25398"/>
                  </a:lnTo>
                  <a:close/>
                </a:path>
                <a:path w="11160125" h="76200">
                  <a:moveTo>
                    <a:pt x="2616199" y="25398"/>
                  </a:moveTo>
                  <a:lnTo>
                    <a:pt x="2590799" y="25398"/>
                  </a:lnTo>
                  <a:lnTo>
                    <a:pt x="2590799" y="50798"/>
                  </a:lnTo>
                  <a:lnTo>
                    <a:pt x="2616199" y="50798"/>
                  </a:lnTo>
                  <a:lnTo>
                    <a:pt x="2616199" y="25398"/>
                  </a:lnTo>
                  <a:close/>
                </a:path>
                <a:path w="11160125" h="76200">
                  <a:moveTo>
                    <a:pt x="2666999" y="25398"/>
                  </a:moveTo>
                  <a:lnTo>
                    <a:pt x="2641599" y="25398"/>
                  </a:lnTo>
                  <a:lnTo>
                    <a:pt x="2641599" y="50798"/>
                  </a:lnTo>
                  <a:lnTo>
                    <a:pt x="2666999" y="50798"/>
                  </a:lnTo>
                  <a:lnTo>
                    <a:pt x="2666999" y="25398"/>
                  </a:lnTo>
                  <a:close/>
                </a:path>
                <a:path w="11160125" h="76200">
                  <a:moveTo>
                    <a:pt x="2717799" y="25398"/>
                  </a:moveTo>
                  <a:lnTo>
                    <a:pt x="2692399" y="25398"/>
                  </a:lnTo>
                  <a:lnTo>
                    <a:pt x="2692399" y="50798"/>
                  </a:lnTo>
                  <a:lnTo>
                    <a:pt x="2717799" y="50798"/>
                  </a:lnTo>
                  <a:lnTo>
                    <a:pt x="2717799" y="25398"/>
                  </a:lnTo>
                  <a:close/>
                </a:path>
                <a:path w="11160125" h="76200">
                  <a:moveTo>
                    <a:pt x="2768599" y="25398"/>
                  </a:moveTo>
                  <a:lnTo>
                    <a:pt x="2743199" y="25398"/>
                  </a:lnTo>
                  <a:lnTo>
                    <a:pt x="2743199" y="50798"/>
                  </a:lnTo>
                  <a:lnTo>
                    <a:pt x="2768599" y="50798"/>
                  </a:lnTo>
                  <a:lnTo>
                    <a:pt x="2768599" y="25398"/>
                  </a:lnTo>
                  <a:close/>
                </a:path>
                <a:path w="11160125" h="76200">
                  <a:moveTo>
                    <a:pt x="2819399" y="25398"/>
                  </a:moveTo>
                  <a:lnTo>
                    <a:pt x="2793999" y="25398"/>
                  </a:lnTo>
                  <a:lnTo>
                    <a:pt x="2793999" y="50798"/>
                  </a:lnTo>
                  <a:lnTo>
                    <a:pt x="2819399" y="50798"/>
                  </a:lnTo>
                  <a:lnTo>
                    <a:pt x="2819399" y="25398"/>
                  </a:lnTo>
                  <a:close/>
                </a:path>
                <a:path w="11160125" h="76200">
                  <a:moveTo>
                    <a:pt x="2870199" y="25398"/>
                  </a:moveTo>
                  <a:lnTo>
                    <a:pt x="2844799" y="25398"/>
                  </a:lnTo>
                  <a:lnTo>
                    <a:pt x="2844799" y="50798"/>
                  </a:lnTo>
                  <a:lnTo>
                    <a:pt x="2870199" y="50798"/>
                  </a:lnTo>
                  <a:lnTo>
                    <a:pt x="2870199" y="25398"/>
                  </a:lnTo>
                  <a:close/>
                </a:path>
                <a:path w="11160125" h="76200">
                  <a:moveTo>
                    <a:pt x="2920999" y="25398"/>
                  </a:moveTo>
                  <a:lnTo>
                    <a:pt x="2895599" y="25398"/>
                  </a:lnTo>
                  <a:lnTo>
                    <a:pt x="2895599" y="50798"/>
                  </a:lnTo>
                  <a:lnTo>
                    <a:pt x="2920999" y="50798"/>
                  </a:lnTo>
                  <a:lnTo>
                    <a:pt x="2920999" y="25398"/>
                  </a:lnTo>
                  <a:close/>
                </a:path>
                <a:path w="11160125" h="76200">
                  <a:moveTo>
                    <a:pt x="2971799" y="25398"/>
                  </a:moveTo>
                  <a:lnTo>
                    <a:pt x="2946399" y="25398"/>
                  </a:lnTo>
                  <a:lnTo>
                    <a:pt x="2946399" y="50798"/>
                  </a:lnTo>
                  <a:lnTo>
                    <a:pt x="2971799" y="50798"/>
                  </a:lnTo>
                  <a:lnTo>
                    <a:pt x="2971799" y="25398"/>
                  </a:lnTo>
                  <a:close/>
                </a:path>
                <a:path w="11160125" h="76200">
                  <a:moveTo>
                    <a:pt x="3022599" y="25398"/>
                  </a:moveTo>
                  <a:lnTo>
                    <a:pt x="2997199" y="25398"/>
                  </a:lnTo>
                  <a:lnTo>
                    <a:pt x="2997199" y="50798"/>
                  </a:lnTo>
                  <a:lnTo>
                    <a:pt x="3022599" y="50798"/>
                  </a:lnTo>
                  <a:lnTo>
                    <a:pt x="3022599" y="25398"/>
                  </a:lnTo>
                  <a:close/>
                </a:path>
                <a:path w="11160125" h="76200">
                  <a:moveTo>
                    <a:pt x="3073399" y="25398"/>
                  </a:moveTo>
                  <a:lnTo>
                    <a:pt x="3047999" y="25398"/>
                  </a:lnTo>
                  <a:lnTo>
                    <a:pt x="3047999" y="50798"/>
                  </a:lnTo>
                  <a:lnTo>
                    <a:pt x="3073399" y="50798"/>
                  </a:lnTo>
                  <a:lnTo>
                    <a:pt x="3073399" y="25398"/>
                  </a:lnTo>
                  <a:close/>
                </a:path>
                <a:path w="11160125" h="76200">
                  <a:moveTo>
                    <a:pt x="3124199" y="25398"/>
                  </a:moveTo>
                  <a:lnTo>
                    <a:pt x="3098799" y="25398"/>
                  </a:lnTo>
                  <a:lnTo>
                    <a:pt x="3098799" y="50798"/>
                  </a:lnTo>
                  <a:lnTo>
                    <a:pt x="3124199" y="50798"/>
                  </a:lnTo>
                  <a:lnTo>
                    <a:pt x="3124199" y="25398"/>
                  </a:lnTo>
                  <a:close/>
                </a:path>
                <a:path w="11160125" h="76200">
                  <a:moveTo>
                    <a:pt x="3174999" y="25398"/>
                  </a:moveTo>
                  <a:lnTo>
                    <a:pt x="3149599" y="25398"/>
                  </a:lnTo>
                  <a:lnTo>
                    <a:pt x="3149599" y="50798"/>
                  </a:lnTo>
                  <a:lnTo>
                    <a:pt x="3174999" y="50798"/>
                  </a:lnTo>
                  <a:lnTo>
                    <a:pt x="3174999" y="25398"/>
                  </a:lnTo>
                  <a:close/>
                </a:path>
                <a:path w="11160125" h="76200">
                  <a:moveTo>
                    <a:pt x="3225799" y="25398"/>
                  </a:moveTo>
                  <a:lnTo>
                    <a:pt x="3200399" y="25398"/>
                  </a:lnTo>
                  <a:lnTo>
                    <a:pt x="3200399" y="50798"/>
                  </a:lnTo>
                  <a:lnTo>
                    <a:pt x="3225799" y="50798"/>
                  </a:lnTo>
                  <a:lnTo>
                    <a:pt x="3225799" y="25398"/>
                  </a:lnTo>
                  <a:close/>
                </a:path>
                <a:path w="11160125" h="76200">
                  <a:moveTo>
                    <a:pt x="3276599" y="25398"/>
                  </a:moveTo>
                  <a:lnTo>
                    <a:pt x="3251199" y="25398"/>
                  </a:lnTo>
                  <a:lnTo>
                    <a:pt x="3251199" y="50798"/>
                  </a:lnTo>
                  <a:lnTo>
                    <a:pt x="3276599" y="50798"/>
                  </a:lnTo>
                  <a:lnTo>
                    <a:pt x="3276599" y="25398"/>
                  </a:lnTo>
                  <a:close/>
                </a:path>
                <a:path w="11160125" h="76200">
                  <a:moveTo>
                    <a:pt x="3327399" y="25398"/>
                  </a:moveTo>
                  <a:lnTo>
                    <a:pt x="3301999" y="25398"/>
                  </a:lnTo>
                  <a:lnTo>
                    <a:pt x="3301999" y="50798"/>
                  </a:lnTo>
                  <a:lnTo>
                    <a:pt x="3327399" y="50798"/>
                  </a:lnTo>
                  <a:lnTo>
                    <a:pt x="3327399" y="25398"/>
                  </a:lnTo>
                  <a:close/>
                </a:path>
                <a:path w="11160125" h="76200">
                  <a:moveTo>
                    <a:pt x="3378199" y="25398"/>
                  </a:moveTo>
                  <a:lnTo>
                    <a:pt x="3352799" y="25398"/>
                  </a:lnTo>
                  <a:lnTo>
                    <a:pt x="3352799" y="50798"/>
                  </a:lnTo>
                  <a:lnTo>
                    <a:pt x="3378199" y="50798"/>
                  </a:lnTo>
                  <a:lnTo>
                    <a:pt x="3378199" y="25398"/>
                  </a:lnTo>
                  <a:close/>
                </a:path>
                <a:path w="11160125" h="76200">
                  <a:moveTo>
                    <a:pt x="3428999" y="25398"/>
                  </a:moveTo>
                  <a:lnTo>
                    <a:pt x="3403599" y="25398"/>
                  </a:lnTo>
                  <a:lnTo>
                    <a:pt x="3403599" y="50798"/>
                  </a:lnTo>
                  <a:lnTo>
                    <a:pt x="3428999" y="50798"/>
                  </a:lnTo>
                  <a:lnTo>
                    <a:pt x="3428999" y="25398"/>
                  </a:lnTo>
                  <a:close/>
                </a:path>
                <a:path w="11160125" h="76200">
                  <a:moveTo>
                    <a:pt x="3479799" y="25398"/>
                  </a:moveTo>
                  <a:lnTo>
                    <a:pt x="3454399" y="25398"/>
                  </a:lnTo>
                  <a:lnTo>
                    <a:pt x="3454399" y="50798"/>
                  </a:lnTo>
                  <a:lnTo>
                    <a:pt x="3479799" y="50798"/>
                  </a:lnTo>
                  <a:lnTo>
                    <a:pt x="3479799" y="25398"/>
                  </a:lnTo>
                  <a:close/>
                </a:path>
                <a:path w="11160125" h="76200">
                  <a:moveTo>
                    <a:pt x="3530599" y="25398"/>
                  </a:moveTo>
                  <a:lnTo>
                    <a:pt x="3505199" y="25398"/>
                  </a:lnTo>
                  <a:lnTo>
                    <a:pt x="3505199" y="50798"/>
                  </a:lnTo>
                  <a:lnTo>
                    <a:pt x="3530599" y="50798"/>
                  </a:lnTo>
                  <a:lnTo>
                    <a:pt x="3530599" y="25398"/>
                  </a:lnTo>
                  <a:close/>
                </a:path>
                <a:path w="11160125" h="76200">
                  <a:moveTo>
                    <a:pt x="3581399" y="25398"/>
                  </a:moveTo>
                  <a:lnTo>
                    <a:pt x="3555999" y="25398"/>
                  </a:lnTo>
                  <a:lnTo>
                    <a:pt x="3555999" y="50798"/>
                  </a:lnTo>
                  <a:lnTo>
                    <a:pt x="3581399" y="50798"/>
                  </a:lnTo>
                  <a:lnTo>
                    <a:pt x="3581399" y="25398"/>
                  </a:lnTo>
                  <a:close/>
                </a:path>
                <a:path w="11160125" h="76200">
                  <a:moveTo>
                    <a:pt x="3632199" y="25398"/>
                  </a:moveTo>
                  <a:lnTo>
                    <a:pt x="3606799" y="25398"/>
                  </a:lnTo>
                  <a:lnTo>
                    <a:pt x="3606799" y="50798"/>
                  </a:lnTo>
                  <a:lnTo>
                    <a:pt x="3632199" y="50798"/>
                  </a:lnTo>
                  <a:lnTo>
                    <a:pt x="3632199" y="25398"/>
                  </a:lnTo>
                  <a:close/>
                </a:path>
                <a:path w="11160125" h="76200">
                  <a:moveTo>
                    <a:pt x="3682999" y="25398"/>
                  </a:moveTo>
                  <a:lnTo>
                    <a:pt x="3657599" y="25398"/>
                  </a:lnTo>
                  <a:lnTo>
                    <a:pt x="3657599" y="50798"/>
                  </a:lnTo>
                  <a:lnTo>
                    <a:pt x="3682999" y="50798"/>
                  </a:lnTo>
                  <a:lnTo>
                    <a:pt x="3682999" y="25398"/>
                  </a:lnTo>
                  <a:close/>
                </a:path>
                <a:path w="11160125" h="76200">
                  <a:moveTo>
                    <a:pt x="3733799" y="25398"/>
                  </a:moveTo>
                  <a:lnTo>
                    <a:pt x="3708399" y="25398"/>
                  </a:lnTo>
                  <a:lnTo>
                    <a:pt x="3708399" y="50798"/>
                  </a:lnTo>
                  <a:lnTo>
                    <a:pt x="3733799" y="50798"/>
                  </a:lnTo>
                  <a:lnTo>
                    <a:pt x="3733799" y="25398"/>
                  </a:lnTo>
                  <a:close/>
                </a:path>
                <a:path w="11160125" h="76200">
                  <a:moveTo>
                    <a:pt x="3784599" y="25398"/>
                  </a:moveTo>
                  <a:lnTo>
                    <a:pt x="3759199" y="25398"/>
                  </a:lnTo>
                  <a:lnTo>
                    <a:pt x="3759199" y="50798"/>
                  </a:lnTo>
                  <a:lnTo>
                    <a:pt x="3784599" y="50798"/>
                  </a:lnTo>
                  <a:lnTo>
                    <a:pt x="3784599" y="25398"/>
                  </a:lnTo>
                  <a:close/>
                </a:path>
                <a:path w="11160125" h="76200">
                  <a:moveTo>
                    <a:pt x="3835399" y="25398"/>
                  </a:moveTo>
                  <a:lnTo>
                    <a:pt x="3809999" y="25398"/>
                  </a:lnTo>
                  <a:lnTo>
                    <a:pt x="3809999" y="50798"/>
                  </a:lnTo>
                  <a:lnTo>
                    <a:pt x="3835399" y="50798"/>
                  </a:lnTo>
                  <a:lnTo>
                    <a:pt x="3835399" y="25398"/>
                  </a:lnTo>
                  <a:close/>
                </a:path>
                <a:path w="11160125" h="76200">
                  <a:moveTo>
                    <a:pt x="3886199" y="25398"/>
                  </a:moveTo>
                  <a:lnTo>
                    <a:pt x="3860799" y="25398"/>
                  </a:lnTo>
                  <a:lnTo>
                    <a:pt x="3860799" y="50798"/>
                  </a:lnTo>
                  <a:lnTo>
                    <a:pt x="3886199" y="50798"/>
                  </a:lnTo>
                  <a:lnTo>
                    <a:pt x="3886199" y="25398"/>
                  </a:lnTo>
                  <a:close/>
                </a:path>
                <a:path w="11160125" h="76200">
                  <a:moveTo>
                    <a:pt x="3936999" y="25398"/>
                  </a:moveTo>
                  <a:lnTo>
                    <a:pt x="3911599" y="25398"/>
                  </a:lnTo>
                  <a:lnTo>
                    <a:pt x="3911599" y="50798"/>
                  </a:lnTo>
                  <a:lnTo>
                    <a:pt x="3936999" y="50798"/>
                  </a:lnTo>
                  <a:lnTo>
                    <a:pt x="3936999" y="25398"/>
                  </a:lnTo>
                  <a:close/>
                </a:path>
                <a:path w="11160125" h="76200">
                  <a:moveTo>
                    <a:pt x="3987799" y="25398"/>
                  </a:moveTo>
                  <a:lnTo>
                    <a:pt x="3962399" y="25398"/>
                  </a:lnTo>
                  <a:lnTo>
                    <a:pt x="3962399" y="50798"/>
                  </a:lnTo>
                  <a:lnTo>
                    <a:pt x="3987799" y="50798"/>
                  </a:lnTo>
                  <a:lnTo>
                    <a:pt x="3987799" y="25398"/>
                  </a:lnTo>
                  <a:close/>
                </a:path>
                <a:path w="11160125" h="76200">
                  <a:moveTo>
                    <a:pt x="4038599" y="25398"/>
                  </a:moveTo>
                  <a:lnTo>
                    <a:pt x="4013199" y="25398"/>
                  </a:lnTo>
                  <a:lnTo>
                    <a:pt x="4013199" y="50798"/>
                  </a:lnTo>
                  <a:lnTo>
                    <a:pt x="4038599" y="50798"/>
                  </a:lnTo>
                  <a:lnTo>
                    <a:pt x="4038599" y="25398"/>
                  </a:lnTo>
                  <a:close/>
                </a:path>
                <a:path w="11160125" h="76200">
                  <a:moveTo>
                    <a:pt x="4089399" y="25398"/>
                  </a:moveTo>
                  <a:lnTo>
                    <a:pt x="4063999" y="25398"/>
                  </a:lnTo>
                  <a:lnTo>
                    <a:pt x="4063999" y="50798"/>
                  </a:lnTo>
                  <a:lnTo>
                    <a:pt x="4089399" y="50798"/>
                  </a:lnTo>
                  <a:lnTo>
                    <a:pt x="4089399" y="25398"/>
                  </a:lnTo>
                  <a:close/>
                </a:path>
                <a:path w="11160125" h="76200">
                  <a:moveTo>
                    <a:pt x="4140199" y="25398"/>
                  </a:moveTo>
                  <a:lnTo>
                    <a:pt x="4114799" y="25398"/>
                  </a:lnTo>
                  <a:lnTo>
                    <a:pt x="4114799" y="50798"/>
                  </a:lnTo>
                  <a:lnTo>
                    <a:pt x="4140199" y="50798"/>
                  </a:lnTo>
                  <a:lnTo>
                    <a:pt x="4140199" y="25398"/>
                  </a:lnTo>
                  <a:close/>
                </a:path>
                <a:path w="11160125" h="76200">
                  <a:moveTo>
                    <a:pt x="4190999" y="25398"/>
                  </a:moveTo>
                  <a:lnTo>
                    <a:pt x="4165599" y="25398"/>
                  </a:lnTo>
                  <a:lnTo>
                    <a:pt x="4165599" y="50798"/>
                  </a:lnTo>
                  <a:lnTo>
                    <a:pt x="4190999" y="50798"/>
                  </a:lnTo>
                  <a:lnTo>
                    <a:pt x="4190999" y="25398"/>
                  </a:lnTo>
                  <a:close/>
                </a:path>
                <a:path w="11160125" h="76200">
                  <a:moveTo>
                    <a:pt x="4241799" y="25398"/>
                  </a:moveTo>
                  <a:lnTo>
                    <a:pt x="4216399" y="25398"/>
                  </a:lnTo>
                  <a:lnTo>
                    <a:pt x="4216399" y="50798"/>
                  </a:lnTo>
                  <a:lnTo>
                    <a:pt x="4241799" y="50798"/>
                  </a:lnTo>
                  <a:lnTo>
                    <a:pt x="4241799" y="25398"/>
                  </a:lnTo>
                  <a:close/>
                </a:path>
                <a:path w="11160125" h="76200">
                  <a:moveTo>
                    <a:pt x="4292599" y="25398"/>
                  </a:moveTo>
                  <a:lnTo>
                    <a:pt x="4267199" y="25398"/>
                  </a:lnTo>
                  <a:lnTo>
                    <a:pt x="4267199" y="50798"/>
                  </a:lnTo>
                  <a:lnTo>
                    <a:pt x="4292599" y="50798"/>
                  </a:lnTo>
                  <a:lnTo>
                    <a:pt x="4292599" y="25398"/>
                  </a:lnTo>
                  <a:close/>
                </a:path>
                <a:path w="11160125" h="76200">
                  <a:moveTo>
                    <a:pt x="4343399" y="25398"/>
                  </a:moveTo>
                  <a:lnTo>
                    <a:pt x="4317999" y="25398"/>
                  </a:lnTo>
                  <a:lnTo>
                    <a:pt x="4317999" y="50798"/>
                  </a:lnTo>
                  <a:lnTo>
                    <a:pt x="4343399" y="50798"/>
                  </a:lnTo>
                  <a:lnTo>
                    <a:pt x="4343399" y="25398"/>
                  </a:lnTo>
                  <a:close/>
                </a:path>
                <a:path w="11160125" h="76200">
                  <a:moveTo>
                    <a:pt x="4394199" y="25398"/>
                  </a:moveTo>
                  <a:lnTo>
                    <a:pt x="4368799" y="25398"/>
                  </a:lnTo>
                  <a:lnTo>
                    <a:pt x="4368799" y="50798"/>
                  </a:lnTo>
                  <a:lnTo>
                    <a:pt x="4394199" y="50798"/>
                  </a:lnTo>
                  <a:lnTo>
                    <a:pt x="4394199" y="25398"/>
                  </a:lnTo>
                  <a:close/>
                </a:path>
                <a:path w="11160125" h="76200">
                  <a:moveTo>
                    <a:pt x="4444999" y="25398"/>
                  </a:moveTo>
                  <a:lnTo>
                    <a:pt x="4419599" y="25398"/>
                  </a:lnTo>
                  <a:lnTo>
                    <a:pt x="4419599" y="50798"/>
                  </a:lnTo>
                  <a:lnTo>
                    <a:pt x="4444999" y="50798"/>
                  </a:lnTo>
                  <a:lnTo>
                    <a:pt x="4444999" y="25398"/>
                  </a:lnTo>
                  <a:close/>
                </a:path>
                <a:path w="11160125" h="76200">
                  <a:moveTo>
                    <a:pt x="4495799" y="25398"/>
                  </a:moveTo>
                  <a:lnTo>
                    <a:pt x="4470399" y="25398"/>
                  </a:lnTo>
                  <a:lnTo>
                    <a:pt x="4470399" y="50798"/>
                  </a:lnTo>
                  <a:lnTo>
                    <a:pt x="4495799" y="50798"/>
                  </a:lnTo>
                  <a:lnTo>
                    <a:pt x="4495799" y="25398"/>
                  </a:lnTo>
                  <a:close/>
                </a:path>
                <a:path w="11160125" h="76200">
                  <a:moveTo>
                    <a:pt x="4546599" y="25398"/>
                  </a:moveTo>
                  <a:lnTo>
                    <a:pt x="4521199" y="25398"/>
                  </a:lnTo>
                  <a:lnTo>
                    <a:pt x="4521199" y="50798"/>
                  </a:lnTo>
                  <a:lnTo>
                    <a:pt x="4546599" y="50798"/>
                  </a:lnTo>
                  <a:lnTo>
                    <a:pt x="4546599" y="25398"/>
                  </a:lnTo>
                  <a:close/>
                </a:path>
                <a:path w="11160125" h="76200">
                  <a:moveTo>
                    <a:pt x="4597399" y="25398"/>
                  </a:moveTo>
                  <a:lnTo>
                    <a:pt x="4571999" y="25398"/>
                  </a:lnTo>
                  <a:lnTo>
                    <a:pt x="4571999" y="50798"/>
                  </a:lnTo>
                  <a:lnTo>
                    <a:pt x="4597399" y="50798"/>
                  </a:lnTo>
                  <a:lnTo>
                    <a:pt x="4597399" y="25398"/>
                  </a:lnTo>
                  <a:close/>
                </a:path>
                <a:path w="11160125" h="76200">
                  <a:moveTo>
                    <a:pt x="4648199" y="25398"/>
                  </a:moveTo>
                  <a:lnTo>
                    <a:pt x="4622799" y="25398"/>
                  </a:lnTo>
                  <a:lnTo>
                    <a:pt x="4622799" y="50798"/>
                  </a:lnTo>
                  <a:lnTo>
                    <a:pt x="4648199" y="50798"/>
                  </a:lnTo>
                  <a:lnTo>
                    <a:pt x="4648199" y="25398"/>
                  </a:lnTo>
                  <a:close/>
                </a:path>
                <a:path w="11160125" h="76200">
                  <a:moveTo>
                    <a:pt x="4698999" y="25398"/>
                  </a:moveTo>
                  <a:lnTo>
                    <a:pt x="4673599" y="25398"/>
                  </a:lnTo>
                  <a:lnTo>
                    <a:pt x="4673599" y="50798"/>
                  </a:lnTo>
                  <a:lnTo>
                    <a:pt x="4698999" y="50798"/>
                  </a:lnTo>
                  <a:lnTo>
                    <a:pt x="4698999" y="25398"/>
                  </a:lnTo>
                  <a:close/>
                </a:path>
                <a:path w="11160125" h="76200">
                  <a:moveTo>
                    <a:pt x="4749799" y="25398"/>
                  </a:moveTo>
                  <a:lnTo>
                    <a:pt x="4724399" y="25398"/>
                  </a:lnTo>
                  <a:lnTo>
                    <a:pt x="4724399" y="50798"/>
                  </a:lnTo>
                  <a:lnTo>
                    <a:pt x="4749799" y="50798"/>
                  </a:lnTo>
                  <a:lnTo>
                    <a:pt x="4749799" y="25398"/>
                  </a:lnTo>
                  <a:close/>
                </a:path>
                <a:path w="11160125" h="76200">
                  <a:moveTo>
                    <a:pt x="4800599" y="25398"/>
                  </a:moveTo>
                  <a:lnTo>
                    <a:pt x="4775199" y="25398"/>
                  </a:lnTo>
                  <a:lnTo>
                    <a:pt x="4775199" y="50798"/>
                  </a:lnTo>
                  <a:lnTo>
                    <a:pt x="4800599" y="50798"/>
                  </a:lnTo>
                  <a:lnTo>
                    <a:pt x="4800599" y="25398"/>
                  </a:lnTo>
                  <a:close/>
                </a:path>
                <a:path w="11160125" h="76200">
                  <a:moveTo>
                    <a:pt x="4851399" y="25398"/>
                  </a:moveTo>
                  <a:lnTo>
                    <a:pt x="4825999" y="25398"/>
                  </a:lnTo>
                  <a:lnTo>
                    <a:pt x="4825999" y="50798"/>
                  </a:lnTo>
                  <a:lnTo>
                    <a:pt x="4851399" y="50798"/>
                  </a:lnTo>
                  <a:lnTo>
                    <a:pt x="4851399" y="25398"/>
                  </a:lnTo>
                  <a:close/>
                </a:path>
                <a:path w="11160125" h="76200">
                  <a:moveTo>
                    <a:pt x="4902199" y="25398"/>
                  </a:moveTo>
                  <a:lnTo>
                    <a:pt x="4876799" y="25398"/>
                  </a:lnTo>
                  <a:lnTo>
                    <a:pt x="4876799" y="50798"/>
                  </a:lnTo>
                  <a:lnTo>
                    <a:pt x="4902199" y="50798"/>
                  </a:lnTo>
                  <a:lnTo>
                    <a:pt x="4902199" y="25398"/>
                  </a:lnTo>
                  <a:close/>
                </a:path>
                <a:path w="11160125" h="76200">
                  <a:moveTo>
                    <a:pt x="4952999" y="25398"/>
                  </a:moveTo>
                  <a:lnTo>
                    <a:pt x="4927599" y="25398"/>
                  </a:lnTo>
                  <a:lnTo>
                    <a:pt x="4927599" y="50798"/>
                  </a:lnTo>
                  <a:lnTo>
                    <a:pt x="4952999" y="50798"/>
                  </a:lnTo>
                  <a:lnTo>
                    <a:pt x="4952999" y="25398"/>
                  </a:lnTo>
                  <a:close/>
                </a:path>
                <a:path w="11160125" h="76200">
                  <a:moveTo>
                    <a:pt x="5003799" y="25398"/>
                  </a:moveTo>
                  <a:lnTo>
                    <a:pt x="4978399" y="25398"/>
                  </a:lnTo>
                  <a:lnTo>
                    <a:pt x="4978399" y="50798"/>
                  </a:lnTo>
                  <a:lnTo>
                    <a:pt x="5003799" y="50798"/>
                  </a:lnTo>
                  <a:lnTo>
                    <a:pt x="5003799" y="25398"/>
                  </a:lnTo>
                  <a:close/>
                </a:path>
                <a:path w="11160125" h="76200">
                  <a:moveTo>
                    <a:pt x="5054599" y="25398"/>
                  </a:moveTo>
                  <a:lnTo>
                    <a:pt x="5029199" y="25398"/>
                  </a:lnTo>
                  <a:lnTo>
                    <a:pt x="5029199" y="50798"/>
                  </a:lnTo>
                  <a:lnTo>
                    <a:pt x="5054599" y="50798"/>
                  </a:lnTo>
                  <a:lnTo>
                    <a:pt x="5054599" y="25398"/>
                  </a:lnTo>
                  <a:close/>
                </a:path>
                <a:path w="11160125" h="76200">
                  <a:moveTo>
                    <a:pt x="5105399" y="25398"/>
                  </a:moveTo>
                  <a:lnTo>
                    <a:pt x="5079999" y="25398"/>
                  </a:lnTo>
                  <a:lnTo>
                    <a:pt x="5079999" y="50798"/>
                  </a:lnTo>
                  <a:lnTo>
                    <a:pt x="5105399" y="50798"/>
                  </a:lnTo>
                  <a:lnTo>
                    <a:pt x="5105399" y="25398"/>
                  </a:lnTo>
                  <a:close/>
                </a:path>
                <a:path w="11160125" h="76200">
                  <a:moveTo>
                    <a:pt x="5156199" y="25398"/>
                  </a:moveTo>
                  <a:lnTo>
                    <a:pt x="5130799" y="25398"/>
                  </a:lnTo>
                  <a:lnTo>
                    <a:pt x="5130799" y="50798"/>
                  </a:lnTo>
                  <a:lnTo>
                    <a:pt x="5156199" y="50798"/>
                  </a:lnTo>
                  <a:lnTo>
                    <a:pt x="5156199" y="25398"/>
                  </a:lnTo>
                  <a:close/>
                </a:path>
                <a:path w="11160125" h="76200">
                  <a:moveTo>
                    <a:pt x="5206999" y="25398"/>
                  </a:moveTo>
                  <a:lnTo>
                    <a:pt x="5181599" y="25398"/>
                  </a:lnTo>
                  <a:lnTo>
                    <a:pt x="5181599" y="50798"/>
                  </a:lnTo>
                  <a:lnTo>
                    <a:pt x="5206999" y="50798"/>
                  </a:lnTo>
                  <a:lnTo>
                    <a:pt x="5206999" y="25398"/>
                  </a:lnTo>
                  <a:close/>
                </a:path>
                <a:path w="11160125" h="76200">
                  <a:moveTo>
                    <a:pt x="5257799" y="25398"/>
                  </a:moveTo>
                  <a:lnTo>
                    <a:pt x="5232399" y="25398"/>
                  </a:lnTo>
                  <a:lnTo>
                    <a:pt x="5232399" y="50798"/>
                  </a:lnTo>
                  <a:lnTo>
                    <a:pt x="5257799" y="50798"/>
                  </a:lnTo>
                  <a:lnTo>
                    <a:pt x="5257799" y="25398"/>
                  </a:lnTo>
                  <a:close/>
                </a:path>
                <a:path w="11160125" h="76200">
                  <a:moveTo>
                    <a:pt x="5308599" y="25398"/>
                  </a:moveTo>
                  <a:lnTo>
                    <a:pt x="5283199" y="25398"/>
                  </a:lnTo>
                  <a:lnTo>
                    <a:pt x="5283199" y="50798"/>
                  </a:lnTo>
                  <a:lnTo>
                    <a:pt x="5308599" y="50798"/>
                  </a:lnTo>
                  <a:lnTo>
                    <a:pt x="5308599" y="25398"/>
                  </a:lnTo>
                  <a:close/>
                </a:path>
                <a:path w="11160125" h="76200">
                  <a:moveTo>
                    <a:pt x="5359399" y="25398"/>
                  </a:moveTo>
                  <a:lnTo>
                    <a:pt x="5333999" y="25398"/>
                  </a:lnTo>
                  <a:lnTo>
                    <a:pt x="5333999" y="50798"/>
                  </a:lnTo>
                  <a:lnTo>
                    <a:pt x="5359399" y="50798"/>
                  </a:lnTo>
                  <a:lnTo>
                    <a:pt x="5359399" y="25398"/>
                  </a:lnTo>
                  <a:close/>
                </a:path>
                <a:path w="11160125" h="76200">
                  <a:moveTo>
                    <a:pt x="5410199" y="25398"/>
                  </a:moveTo>
                  <a:lnTo>
                    <a:pt x="5384799" y="25398"/>
                  </a:lnTo>
                  <a:lnTo>
                    <a:pt x="5384799" y="50798"/>
                  </a:lnTo>
                  <a:lnTo>
                    <a:pt x="5410199" y="50798"/>
                  </a:lnTo>
                  <a:lnTo>
                    <a:pt x="5410199" y="25398"/>
                  </a:lnTo>
                  <a:close/>
                </a:path>
                <a:path w="11160125" h="76200">
                  <a:moveTo>
                    <a:pt x="5460999" y="25398"/>
                  </a:moveTo>
                  <a:lnTo>
                    <a:pt x="5435599" y="25398"/>
                  </a:lnTo>
                  <a:lnTo>
                    <a:pt x="5435599" y="50798"/>
                  </a:lnTo>
                  <a:lnTo>
                    <a:pt x="5460999" y="50798"/>
                  </a:lnTo>
                  <a:lnTo>
                    <a:pt x="5460999" y="25398"/>
                  </a:lnTo>
                  <a:close/>
                </a:path>
                <a:path w="11160125" h="76200">
                  <a:moveTo>
                    <a:pt x="5511799" y="25398"/>
                  </a:moveTo>
                  <a:lnTo>
                    <a:pt x="5486399" y="25398"/>
                  </a:lnTo>
                  <a:lnTo>
                    <a:pt x="5486399" y="50798"/>
                  </a:lnTo>
                  <a:lnTo>
                    <a:pt x="5511799" y="50798"/>
                  </a:lnTo>
                  <a:lnTo>
                    <a:pt x="5511799" y="25398"/>
                  </a:lnTo>
                  <a:close/>
                </a:path>
                <a:path w="11160125" h="76200">
                  <a:moveTo>
                    <a:pt x="5562599" y="25398"/>
                  </a:moveTo>
                  <a:lnTo>
                    <a:pt x="5537199" y="25398"/>
                  </a:lnTo>
                  <a:lnTo>
                    <a:pt x="5537199" y="50798"/>
                  </a:lnTo>
                  <a:lnTo>
                    <a:pt x="5562599" y="50798"/>
                  </a:lnTo>
                  <a:lnTo>
                    <a:pt x="5562599" y="25398"/>
                  </a:lnTo>
                  <a:close/>
                </a:path>
                <a:path w="11160125" h="76200">
                  <a:moveTo>
                    <a:pt x="5613399" y="25398"/>
                  </a:moveTo>
                  <a:lnTo>
                    <a:pt x="5587999" y="25398"/>
                  </a:lnTo>
                  <a:lnTo>
                    <a:pt x="5587999" y="50798"/>
                  </a:lnTo>
                  <a:lnTo>
                    <a:pt x="5613399" y="50798"/>
                  </a:lnTo>
                  <a:lnTo>
                    <a:pt x="5613399" y="25398"/>
                  </a:lnTo>
                  <a:close/>
                </a:path>
                <a:path w="11160125" h="76200">
                  <a:moveTo>
                    <a:pt x="5664199" y="25398"/>
                  </a:moveTo>
                  <a:lnTo>
                    <a:pt x="5638799" y="25398"/>
                  </a:lnTo>
                  <a:lnTo>
                    <a:pt x="5638799" y="50798"/>
                  </a:lnTo>
                  <a:lnTo>
                    <a:pt x="5664199" y="50798"/>
                  </a:lnTo>
                  <a:lnTo>
                    <a:pt x="5664199" y="25398"/>
                  </a:lnTo>
                  <a:close/>
                </a:path>
                <a:path w="11160125" h="76200">
                  <a:moveTo>
                    <a:pt x="5714999" y="25398"/>
                  </a:moveTo>
                  <a:lnTo>
                    <a:pt x="5689599" y="25398"/>
                  </a:lnTo>
                  <a:lnTo>
                    <a:pt x="5689599" y="50798"/>
                  </a:lnTo>
                  <a:lnTo>
                    <a:pt x="5714999" y="50798"/>
                  </a:lnTo>
                  <a:lnTo>
                    <a:pt x="5714999" y="25398"/>
                  </a:lnTo>
                  <a:close/>
                </a:path>
                <a:path w="11160125" h="76200">
                  <a:moveTo>
                    <a:pt x="5765799" y="25398"/>
                  </a:moveTo>
                  <a:lnTo>
                    <a:pt x="5740399" y="25398"/>
                  </a:lnTo>
                  <a:lnTo>
                    <a:pt x="5740399" y="50798"/>
                  </a:lnTo>
                  <a:lnTo>
                    <a:pt x="5765799" y="50798"/>
                  </a:lnTo>
                  <a:lnTo>
                    <a:pt x="5765799" y="25398"/>
                  </a:lnTo>
                  <a:close/>
                </a:path>
                <a:path w="11160125" h="76200">
                  <a:moveTo>
                    <a:pt x="5816599" y="25398"/>
                  </a:moveTo>
                  <a:lnTo>
                    <a:pt x="5791199" y="25398"/>
                  </a:lnTo>
                  <a:lnTo>
                    <a:pt x="5791199" y="50798"/>
                  </a:lnTo>
                  <a:lnTo>
                    <a:pt x="5816599" y="50798"/>
                  </a:lnTo>
                  <a:lnTo>
                    <a:pt x="5816599" y="25398"/>
                  </a:lnTo>
                  <a:close/>
                </a:path>
                <a:path w="11160125" h="76200">
                  <a:moveTo>
                    <a:pt x="5867399" y="25398"/>
                  </a:moveTo>
                  <a:lnTo>
                    <a:pt x="5841999" y="25398"/>
                  </a:lnTo>
                  <a:lnTo>
                    <a:pt x="5841999" y="50798"/>
                  </a:lnTo>
                  <a:lnTo>
                    <a:pt x="5867399" y="50798"/>
                  </a:lnTo>
                  <a:lnTo>
                    <a:pt x="5867399" y="25398"/>
                  </a:lnTo>
                  <a:close/>
                </a:path>
                <a:path w="11160125" h="76200">
                  <a:moveTo>
                    <a:pt x="5918199" y="25398"/>
                  </a:moveTo>
                  <a:lnTo>
                    <a:pt x="5892799" y="25398"/>
                  </a:lnTo>
                  <a:lnTo>
                    <a:pt x="5892799" y="50798"/>
                  </a:lnTo>
                  <a:lnTo>
                    <a:pt x="5918199" y="50798"/>
                  </a:lnTo>
                  <a:lnTo>
                    <a:pt x="5918199" y="25398"/>
                  </a:lnTo>
                  <a:close/>
                </a:path>
                <a:path w="11160125" h="76200">
                  <a:moveTo>
                    <a:pt x="5968999" y="25398"/>
                  </a:moveTo>
                  <a:lnTo>
                    <a:pt x="5943599" y="25398"/>
                  </a:lnTo>
                  <a:lnTo>
                    <a:pt x="5943599" y="50798"/>
                  </a:lnTo>
                  <a:lnTo>
                    <a:pt x="5968999" y="50798"/>
                  </a:lnTo>
                  <a:lnTo>
                    <a:pt x="5968999" y="25398"/>
                  </a:lnTo>
                  <a:close/>
                </a:path>
                <a:path w="11160125" h="76200">
                  <a:moveTo>
                    <a:pt x="6019799" y="25398"/>
                  </a:moveTo>
                  <a:lnTo>
                    <a:pt x="5994399" y="25398"/>
                  </a:lnTo>
                  <a:lnTo>
                    <a:pt x="5994399" y="50798"/>
                  </a:lnTo>
                  <a:lnTo>
                    <a:pt x="6019799" y="50798"/>
                  </a:lnTo>
                  <a:lnTo>
                    <a:pt x="6019799" y="25398"/>
                  </a:lnTo>
                  <a:close/>
                </a:path>
                <a:path w="11160125" h="76200">
                  <a:moveTo>
                    <a:pt x="6070599" y="25398"/>
                  </a:moveTo>
                  <a:lnTo>
                    <a:pt x="6045199" y="25398"/>
                  </a:lnTo>
                  <a:lnTo>
                    <a:pt x="6045199" y="50798"/>
                  </a:lnTo>
                  <a:lnTo>
                    <a:pt x="6070599" y="50798"/>
                  </a:lnTo>
                  <a:lnTo>
                    <a:pt x="6070599" y="25398"/>
                  </a:lnTo>
                  <a:close/>
                </a:path>
                <a:path w="11160125" h="76200">
                  <a:moveTo>
                    <a:pt x="6121399" y="25398"/>
                  </a:moveTo>
                  <a:lnTo>
                    <a:pt x="6095999" y="25398"/>
                  </a:lnTo>
                  <a:lnTo>
                    <a:pt x="6095999" y="50798"/>
                  </a:lnTo>
                  <a:lnTo>
                    <a:pt x="6121399" y="50798"/>
                  </a:lnTo>
                  <a:lnTo>
                    <a:pt x="6121399" y="25398"/>
                  </a:lnTo>
                  <a:close/>
                </a:path>
                <a:path w="11160125" h="76200">
                  <a:moveTo>
                    <a:pt x="6172199" y="25398"/>
                  </a:moveTo>
                  <a:lnTo>
                    <a:pt x="6146799" y="25398"/>
                  </a:lnTo>
                  <a:lnTo>
                    <a:pt x="6146799" y="50798"/>
                  </a:lnTo>
                  <a:lnTo>
                    <a:pt x="6172199" y="50798"/>
                  </a:lnTo>
                  <a:lnTo>
                    <a:pt x="6172199" y="25398"/>
                  </a:lnTo>
                  <a:close/>
                </a:path>
                <a:path w="11160125" h="76200">
                  <a:moveTo>
                    <a:pt x="6222999" y="25398"/>
                  </a:moveTo>
                  <a:lnTo>
                    <a:pt x="6197599" y="25398"/>
                  </a:lnTo>
                  <a:lnTo>
                    <a:pt x="6197599" y="50798"/>
                  </a:lnTo>
                  <a:lnTo>
                    <a:pt x="6222999" y="50798"/>
                  </a:lnTo>
                  <a:lnTo>
                    <a:pt x="6222999" y="25398"/>
                  </a:lnTo>
                  <a:close/>
                </a:path>
                <a:path w="11160125" h="76200">
                  <a:moveTo>
                    <a:pt x="6273799" y="25398"/>
                  </a:moveTo>
                  <a:lnTo>
                    <a:pt x="6248399" y="25398"/>
                  </a:lnTo>
                  <a:lnTo>
                    <a:pt x="6248399" y="50798"/>
                  </a:lnTo>
                  <a:lnTo>
                    <a:pt x="6273799" y="50798"/>
                  </a:lnTo>
                  <a:lnTo>
                    <a:pt x="6273799" y="25398"/>
                  </a:lnTo>
                  <a:close/>
                </a:path>
                <a:path w="11160125" h="76200">
                  <a:moveTo>
                    <a:pt x="6324599" y="25398"/>
                  </a:moveTo>
                  <a:lnTo>
                    <a:pt x="6299199" y="25398"/>
                  </a:lnTo>
                  <a:lnTo>
                    <a:pt x="6299199" y="50798"/>
                  </a:lnTo>
                  <a:lnTo>
                    <a:pt x="6324599" y="50798"/>
                  </a:lnTo>
                  <a:lnTo>
                    <a:pt x="6324599" y="25398"/>
                  </a:lnTo>
                  <a:close/>
                </a:path>
                <a:path w="11160125" h="76200">
                  <a:moveTo>
                    <a:pt x="6375399" y="25398"/>
                  </a:moveTo>
                  <a:lnTo>
                    <a:pt x="6349999" y="25398"/>
                  </a:lnTo>
                  <a:lnTo>
                    <a:pt x="6349999" y="50798"/>
                  </a:lnTo>
                  <a:lnTo>
                    <a:pt x="6375399" y="50798"/>
                  </a:lnTo>
                  <a:lnTo>
                    <a:pt x="6375399" y="25398"/>
                  </a:lnTo>
                  <a:close/>
                </a:path>
                <a:path w="11160125" h="76200">
                  <a:moveTo>
                    <a:pt x="6426199" y="25398"/>
                  </a:moveTo>
                  <a:lnTo>
                    <a:pt x="6400799" y="25398"/>
                  </a:lnTo>
                  <a:lnTo>
                    <a:pt x="6400799" y="50798"/>
                  </a:lnTo>
                  <a:lnTo>
                    <a:pt x="6426199" y="50798"/>
                  </a:lnTo>
                  <a:lnTo>
                    <a:pt x="6426199" y="25398"/>
                  </a:lnTo>
                  <a:close/>
                </a:path>
                <a:path w="11160125" h="76200">
                  <a:moveTo>
                    <a:pt x="6476999" y="25398"/>
                  </a:moveTo>
                  <a:lnTo>
                    <a:pt x="6451599" y="25398"/>
                  </a:lnTo>
                  <a:lnTo>
                    <a:pt x="6451599" y="50798"/>
                  </a:lnTo>
                  <a:lnTo>
                    <a:pt x="6476999" y="50798"/>
                  </a:lnTo>
                  <a:lnTo>
                    <a:pt x="6476999" y="25398"/>
                  </a:lnTo>
                  <a:close/>
                </a:path>
                <a:path w="11160125" h="76200">
                  <a:moveTo>
                    <a:pt x="6527799" y="25398"/>
                  </a:moveTo>
                  <a:lnTo>
                    <a:pt x="6502399" y="25398"/>
                  </a:lnTo>
                  <a:lnTo>
                    <a:pt x="6502399" y="50798"/>
                  </a:lnTo>
                  <a:lnTo>
                    <a:pt x="6527799" y="50798"/>
                  </a:lnTo>
                  <a:lnTo>
                    <a:pt x="6527799" y="25398"/>
                  </a:lnTo>
                  <a:close/>
                </a:path>
                <a:path w="11160125" h="76200">
                  <a:moveTo>
                    <a:pt x="6553199" y="25398"/>
                  </a:moveTo>
                  <a:lnTo>
                    <a:pt x="6553199" y="50798"/>
                  </a:lnTo>
                  <a:lnTo>
                    <a:pt x="6578599" y="50798"/>
                  </a:lnTo>
                  <a:lnTo>
                    <a:pt x="6578599" y="25400"/>
                  </a:lnTo>
                  <a:lnTo>
                    <a:pt x="6553199" y="25398"/>
                  </a:lnTo>
                  <a:close/>
                </a:path>
                <a:path w="11160125" h="76200">
                  <a:moveTo>
                    <a:pt x="6629399" y="25400"/>
                  </a:moveTo>
                  <a:lnTo>
                    <a:pt x="6603999" y="25400"/>
                  </a:lnTo>
                  <a:lnTo>
                    <a:pt x="6603999" y="50800"/>
                  </a:lnTo>
                  <a:lnTo>
                    <a:pt x="6629399" y="50800"/>
                  </a:lnTo>
                  <a:lnTo>
                    <a:pt x="6629399" y="25400"/>
                  </a:lnTo>
                  <a:close/>
                </a:path>
                <a:path w="11160125" h="76200">
                  <a:moveTo>
                    <a:pt x="6680199" y="25400"/>
                  </a:moveTo>
                  <a:lnTo>
                    <a:pt x="6654799" y="25400"/>
                  </a:lnTo>
                  <a:lnTo>
                    <a:pt x="6654799" y="50800"/>
                  </a:lnTo>
                  <a:lnTo>
                    <a:pt x="6680199" y="50800"/>
                  </a:lnTo>
                  <a:lnTo>
                    <a:pt x="6680199" y="25400"/>
                  </a:lnTo>
                  <a:close/>
                </a:path>
                <a:path w="11160125" h="76200">
                  <a:moveTo>
                    <a:pt x="6730999" y="25400"/>
                  </a:moveTo>
                  <a:lnTo>
                    <a:pt x="6705599" y="25400"/>
                  </a:lnTo>
                  <a:lnTo>
                    <a:pt x="6705599" y="50800"/>
                  </a:lnTo>
                  <a:lnTo>
                    <a:pt x="6730999" y="50800"/>
                  </a:lnTo>
                  <a:lnTo>
                    <a:pt x="6730999" y="25400"/>
                  </a:lnTo>
                  <a:close/>
                </a:path>
                <a:path w="11160125" h="76200">
                  <a:moveTo>
                    <a:pt x="6781799" y="25400"/>
                  </a:moveTo>
                  <a:lnTo>
                    <a:pt x="6756399" y="25400"/>
                  </a:lnTo>
                  <a:lnTo>
                    <a:pt x="6756399" y="50800"/>
                  </a:lnTo>
                  <a:lnTo>
                    <a:pt x="6781799" y="50800"/>
                  </a:lnTo>
                  <a:lnTo>
                    <a:pt x="6781799" y="25400"/>
                  </a:lnTo>
                  <a:close/>
                </a:path>
                <a:path w="11160125" h="76200">
                  <a:moveTo>
                    <a:pt x="6832599" y="25400"/>
                  </a:moveTo>
                  <a:lnTo>
                    <a:pt x="6807199" y="25400"/>
                  </a:lnTo>
                  <a:lnTo>
                    <a:pt x="6807199" y="50800"/>
                  </a:lnTo>
                  <a:lnTo>
                    <a:pt x="6832599" y="50800"/>
                  </a:lnTo>
                  <a:lnTo>
                    <a:pt x="6832599" y="25400"/>
                  </a:lnTo>
                  <a:close/>
                </a:path>
                <a:path w="11160125" h="76200">
                  <a:moveTo>
                    <a:pt x="6883399" y="25400"/>
                  </a:moveTo>
                  <a:lnTo>
                    <a:pt x="6857999" y="25400"/>
                  </a:lnTo>
                  <a:lnTo>
                    <a:pt x="6857999" y="50800"/>
                  </a:lnTo>
                  <a:lnTo>
                    <a:pt x="6883399" y="50800"/>
                  </a:lnTo>
                  <a:lnTo>
                    <a:pt x="6883399" y="25400"/>
                  </a:lnTo>
                  <a:close/>
                </a:path>
                <a:path w="11160125" h="76200">
                  <a:moveTo>
                    <a:pt x="6934199" y="25400"/>
                  </a:moveTo>
                  <a:lnTo>
                    <a:pt x="6908799" y="25400"/>
                  </a:lnTo>
                  <a:lnTo>
                    <a:pt x="6908799" y="50800"/>
                  </a:lnTo>
                  <a:lnTo>
                    <a:pt x="6934199" y="50800"/>
                  </a:lnTo>
                  <a:lnTo>
                    <a:pt x="6934199" y="25400"/>
                  </a:lnTo>
                  <a:close/>
                </a:path>
                <a:path w="11160125" h="76200">
                  <a:moveTo>
                    <a:pt x="6984999" y="25400"/>
                  </a:moveTo>
                  <a:lnTo>
                    <a:pt x="6959599" y="25400"/>
                  </a:lnTo>
                  <a:lnTo>
                    <a:pt x="6959599" y="50800"/>
                  </a:lnTo>
                  <a:lnTo>
                    <a:pt x="6984999" y="50800"/>
                  </a:lnTo>
                  <a:lnTo>
                    <a:pt x="6984999" y="25400"/>
                  </a:lnTo>
                  <a:close/>
                </a:path>
                <a:path w="11160125" h="76200">
                  <a:moveTo>
                    <a:pt x="7035799" y="25400"/>
                  </a:moveTo>
                  <a:lnTo>
                    <a:pt x="7010399" y="25400"/>
                  </a:lnTo>
                  <a:lnTo>
                    <a:pt x="7010399" y="50800"/>
                  </a:lnTo>
                  <a:lnTo>
                    <a:pt x="7035799" y="50800"/>
                  </a:lnTo>
                  <a:lnTo>
                    <a:pt x="7035799" y="25400"/>
                  </a:lnTo>
                  <a:close/>
                </a:path>
                <a:path w="11160125" h="76200">
                  <a:moveTo>
                    <a:pt x="7086599" y="25400"/>
                  </a:moveTo>
                  <a:lnTo>
                    <a:pt x="7061199" y="25400"/>
                  </a:lnTo>
                  <a:lnTo>
                    <a:pt x="7061199" y="50800"/>
                  </a:lnTo>
                  <a:lnTo>
                    <a:pt x="7086599" y="50800"/>
                  </a:lnTo>
                  <a:lnTo>
                    <a:pt x="7086599" y="25400"/>
                  </a:lnTo>
                  <a:close/>
                </a:path>
                <a:path w="11160125" h="76200">
                  <a:moveTo>
                    <a:pt x="7137399" y="25400"/>
                  </a:moveTo>
                  <a:lnTo>
                    <a:pt x="7111999" y="25400"/>
                  </a:lnTo>
                  <a:lnTo>
                    <a:pt x="7111999" y="50800"/>
                  </a:lnTo>
                  <a:lnTo>
                    <a:pt x="7137399" y="50800"/>
                  </a:lnTo>
                  <a:lnTo>
                    <a:pt x="7137399" y="25400"/>
                  </a:lnTo>
                  <a:close/>
                </a:path>
                <a:path w="11160125" h="76200">
                  <a:moveTo>
                    <a:pt x="7188199" y="25400"/>
                  </a:moveTo>
                  <a:lnTo>
                    <a:pt x="7162799" y="25400"/>
                  </a:lnTo>
                  <a:lnTo>
                    <a:pt x="7162799" y="50800"/>
                  </a:lnTo>
                  <a:lnTo>
                    <a:pt x="7188199" y="50800"/>
                  </a:lnTo>
                  <a:lnTo>
                    <a:pt x="7188199" y="25400"/>
                  </a:lnTo>
                  <a:close/>
                </a:path>
                <a:path w="11160125" h="76200">
                  <a:moveTo>
                    <a:pt x="7238999" y="25400"/>
                  </a:moveTo>
                  <a:lnTo>
                    <a:pt x="7213599" y="25400"/>
                  </a:lnTo>
                  <a:lnTo>
                    <a:pt x="7213599" y="50800"/>
                  </a:lnTo>
                  <a:lnTo>
                    <a:pt x="7238999" y="50800"/>
                  </a:lnTo>
                  <a:lnTo>
                    <a:pt x="7238999" y="25400"/>
                  </a:lnTo>
                  <a:close/>
                </a:path>
                <a:path w="11160125" h="76200">
                  <a:moveTo>
                    <a:pt x="7289799" y="25400"/>
                  </a:moveTo>
                  <a:lnTo>
                    <a:pt x="7264399" y="25400"/>
                  </a:lnTo>
                  <a:lnTo>
                    <a:pt x="7264399" y="50800"/>
                  </a:lnTo>
                  <a:lnTo>
                    <a:pt x="7289799" y="50800"/>
                  </a:lnTo>
                  <a:lnTo>
                    <a:pt x="7289799" y="25400"/>
                  </a:lnTo>
                  <a:close/>
                </a:path>
                <a:path w="11160125" h="76200">
                  <a:moveTo>
                    <a:pt x="7340599" y="25400"/>
                  </a:moveTo>
                  <a:lnTo>
                    <a:pt x="7315199" y="25400"/>
                  </a:lnTo>
                  <a:lnTo>
                    <a:pt x="7315199" y="50800"/>
                  </a:lnTo>
                  <a:lnTo>
                    <a:pt x="7340599" y="50800"/>
                  </a:lnTo>
                  <a:lnTo>
                    <a:pt x="7340599" y="25400"/>
                  </a:lnTo>
                  <a:close/>
                </a:path>
                <a:path w="11160125" h="76200">
                  <a:moveTo>
                    <a:pt x="7391399" y="25400"/>
                  </a:moveTo>
                  <a:lnTo>
                    <a:pt x="7365999" y="25400"/>
                  </a:lnTo>
                  <a:lnTo>
                    <a:pt x="7365999" y="50800"/>
                  </a:lnTo>
                  <a:lnTo>
                    <a:pt x="7391399" y="50800"/>
                  </a:lnTo>
                  <a:lnTo>
                    <a:pt x="7391399" y="25400"/>
                  </a:lnTo>
                  <a:close/>
                </a:path>
                <a:path w="11160125" h="76200">
                  <a:moveTo>
                    <a:pt x="7442199" y="25400"/>
                  </a:moveTo>
                  <a:lnTo>
                    <a:pt x="7416799" y="25400"/>
                  </a:lnTo>
                  <a:lnTo>
                    <a:pt x="7416799" y="50800"/>
                  </a:lnTo>
                  <a:lnTo>
                    <a:pt x="7442199" y="50800"/>
                  </a:lnTo>
                  <a:lnTo>
                    <a:pt x="7442199" y="25400"/>
                  </a:lnTo>
                  <a:close/>
                </a:path>
                <a:path w="11160125" h="76200">
                  <a:moveTo>
                    <a:pt x="7492999" y="25400"/>
                  </a:moveTo>
                  <a:lnTo>
                    <a:pt x="7467599" y="25400"/>
                  </a:lnTo>
                  <a:lnTo>
                    <a:pt x="7467599" y="50800"/>
                  </a:lnTo>
                  <a:lnTo>
                    <a:pt x="7492999" y="50800"/>
                  </a:lnTo>
                  <a:lnTo>
                    <a:pt x="7492999" y="25400"/>
                  </a:lnTo>
                  <a:close/>
                </a:path>
                <a:path w="11160125" h="76200">
                  <a:moveTo>
                    <a:pt x="7543799" y="25400"/>
                  </a:moveTo>
                  <a:lnTo>
                    <a:pt x="7518399" y="25400"/>
                  </a:lnTo>
                  <a:lnTo>
                    <a:pt x="7518399" y="50800"/>
                  </a:lnTo>
                  <a:lnTo>
                    <a:pt x="7543799" y="50800"/>
                  </a:lnTo>
                  <a:lnTo>
                    <a:pt x="7543799" y="25400"/>
                  </a:lnTo>
                  <a:close/>
                </a:path>
                <a:path w="11160125" h="76200">
                  <a:moveTo>
                    <a:pt x="7594599" y="25400"/>
                  </a:moveTo>
                  <a:lnTo>
                    <a:pt x="7569199" y="25400"/>
                  </a:lnTo>
                  <a:lnTo>
                    <a:pt x="7569199" y="50800"/>
                  </a:lnTo>
                  <a:lnTo>
                    <a:pt x="7594599" y="50800"/>
                  </a:lnTo>
                  <a:lnTo>
                    <a:pt x="7594599" y="25400"/>
                  </a:lnTo>
                  <a:close/>
                </a:path>
                <a:path w="11160125" h="76200">
                  <a:moveTo>
                    <a:pt x="7645399" y="25400"/>
                  </a:moveTo>
                  <a:lnTo>
                    <a:pt x="7619999" y="25400"/>
                  </a:lnTo>
                  <a:lnTo>
                    <a:pt x="7619999" y="50800"/>
                  </a:lnTo>
                  <a:lnTo>
                    <a:pt x="7645399" y="50800"/>
                  </a:lnTo>
                  <a:lnTo>
                    <a:pt x="7645399" y="25400"/>
                  </a:lnTo>
                  <a:close/>
                </a:path>
                <a:path w="11160125" h="76200">
                  <a:moveTo>
                    <a:pt x="7696199" y="25400"/>
                  </a:moveTo>
                  <a:lnTo>
                    <a:pt x="7670799" y="25400"/>
                  </a:lnTo>
                  <a:lnTo>
                    <a:pt x="7670799" y="50800"/>
                  </a:lnTo>
                  <a:lnTo>
                    <a:pt x="7696199" y="50800"/>
                  </a:lnTo>
                  <a:lnTo>
                    <a:pt x="7696199" y="25400"/>
                  </a:lnTo>
                  <a:close/>
                </a:path>
                <a:path w="11160125" h="76200">
                  <a:moveTo>
                    <a:pt x="7746999" y="25400"/>
                  </a:moveTo>
                  <a:lnTo>
                    <a:pt x="7721599" y="25400"/>
                  </a:lnTo>
                  <a:lnTo>
                    <a:pt x="7721599" y="50800"/>
                  </a:lnTo>
                  <a:lnTo>
                    <a:pt x="7746999" y="50800"/>
                  </a:lnTo>
                  <a:lnTo>
                    <a:pt x="7746999" y="25400"/>
                  </a:lnTo>
                  <a:close/>
                </a:path>
                <a:path w="11160125" h="76200">
                  <a:moveTo>
                    <a:pt x="7797799" y="25400"/>
                  </a:moveTo>
                  <a:lnTo>
                    <a:pt x="7772399" y="25400"/>
                  </a:lnTo>
                  <a:lnTo>
                    <a:pt x="7772399" y="50800"/>
                  </a:lnTo>
                  <a:lnTo>
                    <a:pt x="7797799" y="50800"/>
                  </a:lnTo>
                  <a:lnTo>
                    <a:pt x="7797799" y="25400"/>
                  </a:lnTo>
                  <a:close/>
                </a:path>
                <a:path w="11160125" h="76200">
                  <a:moveTo>
                    <a:pt x="7848599" y="25400"/>
                  </a:moveTo>
                  <a:lnTo>
                    <a:pt x="7823199" y="25400"/>
                  </a:lnTo>
                  <a:lnTo>
                    <a:pt x="7823199" y="50800"/>
                  </a:lnTo>
                  <a:lnTo>
                    <a:pt x="7848599" y="50800"/>
                  </a:lnTo>
                  <a:lnTo>
                    <a:pt x="7848599" y="25400"/>
                  </a:lnTo>
                  <a:close/>
                </a:path>
                <a:path w="11160125" h="76200">
                  <a:moveTo>
                    <a:pt x="7899399" y="25400"/>
                  </a:moveTo>
                  <a:lnTo>
                    <a:pt x="7873999" y="25400"/>
                  </a:lnTo>
                  <a:lnTo>
                    <a:pt x="7873999" y="50800"/>
                  </a:lnTo>
                  <a:lnTo>
                    <a:pt x="7899399" y="50800"/>
                  </a:lnTo>
                  <a:lnTo>
                    <a:pt x="7899399" y="25400"/>
                  </a:lnTo>
                  <a:close/>
                </a:path>
                <a:path w="11160125" h="76200">
                  <a:moveTo>
                    <a:pt x="7950199" y="25400"/>
                  </a:moveTo>
                  <a:lnTo>
                    <a:pt x="7924799" y="25400"/>
                  </a:lnTo>
                  <a:lnTo>
                    <a:pt x="7924799" y="50800"/>
                  </a:lnTo>
                  <a:lnTo>
                    <a:pt x="7950199" y="50800"/>
                  </a:lnTo>
                  <a:lnTo>
                    <a:pt x="7950199" y="25400"/>
                  </a:lnTo>
                  <a:close/>
                </a:path>
                <a:path w="11160125" h="76200">
                  <a:moveTo>
                    <a:pt x="8000999" y="25400"/>
                  </a:moveTo>
                  <a:lnTo>
                    <a:pt x="7975599" y="25400"/>
                  </a:lnTo>
                  <a:lnTo>
                    <a:pt x="7975599" y="50800"/>
                  </a:lnTo>
                  <a:lnTo>
                    <a:pt x="8000999" y="50800"/>
                  </a:lnTo>
                  <a:lnTo>
                    <a:pt x="8000999" y="25400"/>
                  </a:lnTo>
                  <a:close/>
                </a:path>
                <a:path w="11160125" h="76200">
                  <a:moveTo>
                    <a:pt x="8051799" y="25400"/>
                  </a:moveTo>
                  <a:lnTo>
                    <a:pt x="8026399" y="25400"/>
                  </a:lnTo>
                  <a:lnTo>
                    <a:pt x="8026399" y="50800"/>
                  </a:lnTo>
                  <a:lnTo>
                    <a:pt x="8051799" y="50800"/>
                  </a:lnTo>
                  <a:lnTo>
                    <a:pt x="8051799" y="25400"/>
                  </a:lnTo>
                  <a:close/>
                </a:path>
                <a:path w="11160125" h="76200">
                  <a:moveTo>
                    <a:pt x="8102599" y="25400"/>
                  </a:moveTo>
                  <a:lnTo>
                    <a:pt x="8077199" y="25400"/>
                  </a:lnTo>
                  <a:lnTo>
                    <a:pt x="8077199" y="50800"/>
                  </a:lnTo>
                  <a:lnTo>
                    <a:pt x="8102599" y="50800"/>
                  </a:lnTo>
                  <a:lnTo>
                    <a:pt x="8102599" y="25400"/>
                  </a:lnTo>
                  <a:close/>
                </a:path>
                <a:path w="11160125" h="76200">
                  <a:moveTo>
                    <a:pt x="8153399" y="25400"/>
                  </a:moveTo>
                  <a:lnTo>
                    <a:pt x="8127999" y="25400"/>
                  </a:lnTo>
                  <a:lnTo>
                    <a:pt x="8127999" y="50800"/>
                  </a:lnTo>
                  <a:lnTo>
                    <a:pt x="8153399" y="50800"/>
                  </a:lnTo>
                  <a:lnTo>
                    <a:pt x="8153399" y="25400"/>
                  </a:lnTo>
                  <a:close/>
                </a:path>
                <a:path w="11160125" h="76200">
                  <a:moveTo>
                    <a:pt x="8204199" y="25400"/>
                  </a:moveTo>
                  <a:lnTo>
                    <a:pt x="8178799" y="25400"/>
                  </a:lnTo>
                  <a:lnTo>
                    <a:pt x="8178799" y="50800"/>
                  </a:lnTo>
                  <a:lnTo>
                    <a:pt x="8204199" y="50800"/>
                  </a:lnTo>
                  <a:lnTo>
                    <a:pt x="8204199" y="25400"/>
                  </a:lnTo>
                  <a:close/>
                </a:path>
                <a:path w="11160125" h="76200">
                  <a:moveTo>
                    <a:pt x="8254999" y="25400"/>
                  </a:moveTo>
                  <a:lnTo>
                    <a:pt x="8229599" y="25400"/>
                  </a:lnTo>
                  <a:lnTo>
                    <a:pt x="8229599" y="50800"/>
                  </a:lnTo>
                  <a:lnTo>
                    <a:pt x="8254999" y="50800"/>
                  </a:lnTo>
                  <a:lnTo>
                    <a:pt x="8254999" y="25400"/>
                  </a:lnTo>
                  <a:close/>
                </a:path>
                <a:path w="11160125" h="76200">
                  <a:moveTo>
                    <a:pt x="8305799" y="25400"/>
                  </a:moveTo>
                  <a:lnTo>
                    <a:pt x="8280399" y="25400"/>
                  </a:lnTo>
                  <a:lnTo>
                    <a:pt x="8280399" y="50800"/>
                  </a:lnTo>
                  <a:lnTo>
                    <a:pt x="8305799" y="50800"/>
                  </a:lnTo>
                  <a:lnTo>
                    <a:pt x="8305799" y="25400"/>
                  </a:lnTo>
                  <a:close/>
                </a:path>
                <a:path w="11160125" h="76200">
                  <a:moveTo>
                    <a:pt x="8356599" y="25400"/>
                  </a:moveTo>
                  <a:lnTo>
                    <a:pt x="8331199" y="25400"/>
                  </a:lnTo>
                  <a:lnTo>
                    <a:pt x="8331199" y="50800"/>
                  </a:lnTo>
                  <a:lnTo>
                    <a:pt x="8356599" y="50800"/>
                  </a:lnTo>
                  <a:lnTo>
                    <a:pt x="8356599" y="25400"/>
                  </a:lnTo>
                  <a:close/>
                </a:path>
                <a:path w="11160125" h="76200">
                  <a:moveTo>
                    <a:pt x="8407399" y="25400"/>
                  </a:moveTo>
                  <a:lnTo>
                    <a:pt x="8381999" y="25400"/>
                  </a:lnTo>
                  <a:lnTo>
                    <a:pt x="8381999" y="50800"/>
                  </a:lnTo>
                  <a:lnTo>
                    <a:pt x="8407399" y="50800"/>
                  </a:lnTo>
                  <a:lnTo>
                    <a:pt x="8407399" y="25400"/>
                  </a:lnTo>
                  <a:close/>
                </a:path>
                <a:path w="11160125" h="76200">
                  <a:moveTo>
                    <a:pt x="8458199" y="25400"/>
                  </a:moveTo>
                  <a:lnTo>
                    <a:pt x="8432799" y="25400"/>
                  </a:lnTo>
                  <a:lnTo>
                    <a:pt x="8432799" y="50800"/>
                  </a:lnTo>
                  <a:lnTo>
                    <a:pt x="8458199" y="50800"/>
                  </a:lnTo>
                  <a:lnTo>
                    <a:pt x="8458199" y="25400"/>
                  </a:lnTo>
                  <a:close/>
                </a:path>
                <a:path w="11160125" h="76200">
                  <a:moveTo>
                    <a:pt x="8508999" y="25400"/>
                  </a:moveTo>
                  <a:lnTo>
                    <a:pt x="8483599" y="25400"/>
                  </a:lnTo>
                  <a:lnTo>
                    <a:pt x="8483599" y="50800"/>
                  </a:lnTo>
                  <a:lnTo>
                    <a:pt x="8508999" y="50800"/>
                  </a:lnTo>
                  <a:lnTo>
                    <a:pt x="8508999" y="25400"/>
                  </a:lnTo>
                  <a:close/>
                </a:path>
                <a:path w="11160125" h="76200">
                  <a:moveTo>
                    <a:pt x="8559799" y="25400"/>
                  </a:moveTo>
                  <a:lnTo>
                    <a:pt x="8534399" y="25400"/>
                  </a:lnTo>
                  <a:lnTo>
                    <a:pt x="8534399" y="50800"/>
                  </a:lnTo>
                  <a:lnTo>
                    <a:pt x="8559799" y="50800"/>
                  </a:lnTo>
                  <a:lnTo>
                    <a:pt x="8559799" y="25400"/>
                  </a:lnTo>
                  <a:close/>
                </a:path>
                <a:path w="11160125" h="76200">
                  <a:moveTo>
                    <a:pt x="8610599" y="25400"/>
                  </a:moveTo>
                  <a:lnTo>
                    <a:pt x="8585199" y="25400"/>
                  </a:lnTo>
                  <a:lnTo>
                    <a:pt x="8585199" y="50800"/>
                  </a:lnTo>
                  <a:lnTo>
                    <a:pt x="8610599" y="50800"/>
                  </a:lnTo>
                  <a:lnTo>
                    <a:pt x="8610599" y="25400"/>
                  </a:lnTo>
                  <a:close/>
                </a:path>
                <a:path w="11160125" h="76200">
                  <a:moveTo>
                    <a:pt x="8661399" y="25400"/>
                  </a:moveTo>
                  <a:lnTo>
                    <a:pt x="8635999" y="25400"/>
                  </a:lnTo>
                  <a:lnTo>
                    <a:pt x="8635999" y="50800"/>
                  </a:lnTo>
                  <a:lnTo>
                    <a:pt x="8661399" y="50800"/>
                  </a:lnTo>
                  <a:lnTo>
                    <a:pt x="8661399" y="25400"/>
                  </a:lnTo>
                  <a:close/>
                </a:path>
                <a:path w="11160125" h="76200">
                  <a:moveTo>
                    <a:pt x="8712199" y="25400"/>
                  </a:moveTo>
                  <a:lnTo>
                    <a:pt x="8686799" y="25400"/>
                  </a:lnTo>
                  <a:lnTo>
                    <a:pt x="8686799" y="50800"/>
                  </a:lnTo>
                  <a:lnTo>
                    <a:pt x="8712199" y="50800"/>
                  </a:lnTo>
                  <a:lnTo>
                    <a:pt x="8712199" y="25400"/>
                  </a:lnTo>
                  <a:close/>
                </a:path>
                <a:path w="11160125" h="76200">
                  <a:moveTo>
                    <a:pt x="8762999" y="25400"/>
                  </a:moveTo>
                  <a:lnTo>
                    <a:pt x="8737599" y="25400"/>
                  </a:lnTo>
                  <a:lnTo>
                    <a:pt x="8737599" y="50800"/>
                  </a:lnTo>
                  <a:lnTo>
                    <a:pt x="8762999" y="50800"/>
                  </a:lnTo>
                  <a:lnTo>
                    <a:pt x="8762999" y="25400"/>
                  </a:lnTo>
                  <a:close/>
                </a:path>
                <a:path w="11160125" h="76200">
                  <a:moveTo>
                    <a:pt x="8813799" y="25400"/>
                  </a:moveTo>
                  <a:lnTo>
                    <a:pt x="8788399" y="25400"/>
                  </a:lnTo>
                  <a:lnTo>
                    <a:pt x="8788399" y="50800"/>
                  </a:lnTo>
                  <a:lnTo>
                    <a:pt x="8813799" y="50800"/>
                  </a:lnTo>
                  <a:lnTo>
                    <a:pt x="8813799" y="25400"/>
                  </a:lnTo>
                  <a:close/>
                </a:path>
                <a:path w="11160125" h="76200">
                  <a:moveTo>
                    <a:pt x="8864599" y="25400"/>
                  </a:moveTo>
                  <a:lnTo>
                    <a:pt x="8839199" y="25400"/>
                  </a:lnTo>
                  <a:lnTo>
                    <a:pt x="8839199" y="50800"/>
                  </a:lnTo>
                  <a:lnTo>
                    <a:pt x="8864599" y="50800"/>
                  </a:lnTo>
                  <a:lnTo>
                    <a:pt x="8864599" y="25400"/>
                  </a:lnTo>
                  <a:close/>
                </a:path>
                <a:path w="11160125" h="76200">
                  <a:moveTo>
                    <a:pt x="8915399" y="25400"/>
                  </a:moveTo>
                  <a:lnTo>
                    <a:pt x="8889999" y="25400"/>
                  </a:lnTo>
                  <a:lnTo>
                    <a:pt x="8889999" y="50800"/>
                  </a:lnTo>
                  <a:lnTo>
                    <a:pt x="8915399" y="50800"/>
                  </a:lnTo>
                  <a:lnTo>
                    <a:pt x="8915399" y="25400"/>
                  </a:lnTo>
                  <a:close/>
                </a:path>
                <a:path w="11160125" h="76200">
                  <a:moveTo>
                    <a:pt x="8966199" y="25400"/>
                  </a:moveTo>
                  <a:lnTo>
                    <a:pt x="8940799" y="25400"/>
                  </a:lnTo>
                  <a:lnTo>
                    <a:pt x="8940799" y="50800"/>
                  </a:lnTo>
                  <a:lnTo>
                    <a:pt x="8966199" y="50800"/>
                  </a:lnTo>
                  <a:lnTo>
                    <a:pt x="8966199" y="25400"/>
                  </a:lnTo>
                  <a:close/>
                </a:path>
                <a:path w="11160125" h="76200">
                  <a:moveTo>
                    <a:pt x="9016999" y="25400"/>
                  </a:moveTo>
                  <a:lnTo>
                    <a:pt x="8991599" y="25400"/>
                  </a:lnTo>
                  <a:lnTo>
                    <a:pt x="8991599" y="50800"/>
                  </a:lnTo>
                  <a:lnTo>
                    <a:pt x="9016999" y="50800"/>
                  </a:lnTo>
                  <a:lnTo>
                    <a:pt x="9016999" y="25400"/>
                  </a:lnTo>
                  <a:close/>
                </a:path>
                <a:path w="11160125" h="76200">
                  <a:moveTo>
                    <a:pt x="9067799" y="25400"/>
                  </a:moveTo>
                  <a:lnTo>
                    <a:pt x="9042399" y="25400"/>
                  </a:lnTo>
                  <a:lnTo>
                    <a:pt x="9042399" y="50800"/>
                  </a:lnTo>
                  <a:lnTo>
                    <a:pt x="9067799" y="50800"/>
                  </a:lnTo>
                  <a:lnTo>
                    <a:pt x="9067799" y="25400"/>
                  </a:lnTo>
                  <a:close/>
                </a:path>
                <a:path w="11160125" h="76200">
                  <a:moveTo>
                    <a:pt x="9118599" y="25400"/>
                  </a:moveTo>
                  <a:lnTo>
                    <a:pt x="9093199" y="25400"/>
                  </a:lnTo>
                  <a:lnTo>
                    <a:pt x="9093199" y="50800"/>
                  </a:lnTo>
                  <a:lnTo>
                    <a:pt x="9118599" y="50800"/>
                  </a:lnTo>
                  <a:lnTo>
                    <a:pt x="9118599" y="25400"/>
                  </a:lnTo>
                  <a:close/>
                </a:path>
                <a:path w="11160125" h="76200">
                  <a:moveTo>
                    <a:pt x="9169399" y="25400"/>
                  </a:moveTo>
                  <a:lnTo>
                    <a:pt x="9143999" y="25400"/>
                  </a:lnTo>
                  <a:lnTo>
                    <a:pt x="9143999" y="50800"/>
                  </a:lnTo>
                  <a:lnTo>
                    <a:pt x="9169399" y="50800"/>
                  </a:lnTo>
                  <a:lnTo>
                    <a:pt x="9169399" y="25400"/>
                  </a:lnTo>
                  <a:close/>
                </a:path>
                <a:path w="11160125" h="76200">
                  <a:moveTo>
                    <a:pt x="9220199" y="25400"/>
                  </a:moveTo>
                  <a:lnTo>
                    <a:pt x="9194799" y="25400"/>
                  </a:lnTo>
                  <a:lnTo>
                    <a:pt x="9194799" y="50800"/>
                  </a:lnTo>
                  <a:lnTo>
                    <a:pt x="9220199" y="50800"/>
                  </a:lnTo>
                  <a:lnTo>
                    <a:pt x="9220199" y="25400"/>
                  </a:lnTo>
                  <a:close/>
                </a:path>
                <a:path w="11160125" h="76200">
                  <a:moveTo>
                    <a:pt x="9270999" y="25400"/>
                  </a:moveTo>
                  <a:lnTo>
                    <a:pt x="9245599" y="25400"/>
                  </a:lnTo>
                  <a:lnTo>
                    <a:pt x="9245599" y="50800"/>
                  </a:lnTo>
                  <a:lnTo>
                    <a:pt x="9270999" y="50800"/>
                  </a:lnTo>
                  <a:lnTo>
                    <a:pt x="9270999" y="25400"/>
                  </a:lnTo>
                  <a:close/>
                </a:path>
                <a:path w="11160125" h="76200">
                  <a:moveTo>
                    <a:pt x="9321799" y="25400"/>
                  </a:moveTo>
                  <a:lnTo>
                    <a:pt x="9296399" y="25400"/>
                  </a:lnTo>
                  <a:lnTo>
                    <a:pt x="9296399" y="50800"/>
                  </a:lnTo>
                  <a:lnTo>
                    <a:pt x="9321799" y="50800"/>
                  </a:lnTo>
                  <a:lnTo>
                    <a:pt x="9321799" y="25400"/>
                  </a:lnTo>
                  <a:close/>
                </a:path>
                <a:path w="11160125" h="76200">
                  <a:moveTo>
                    <a:pt x="9372599" y="25400"/>
                  </a:moveTo>
                  <a:lnTo>
                    <a:pt x="9347199" y="25400"/>
                  </a:lnTo>
                  <a:lnTo>
                    <a:pt x="9347199" y="50800"/>
                  </a:lnTo>
                  <a:lnTo>
                    <a:pt x="9372599" y="50800"/>
                  </a:lnTo>
                  <a:lnTo>
                    <a:pt x="9372599" y="25400"/>
                  </a:lnTo>
                  <a:close/>
                </a:path>
                <a:path w="11160125" h="76200">
                  <a:moveTo>
                    <a:pt x="9423399" y="25400"/>
                  </a:moveTo>
                  <a:lnTo>
                    <a:pt x="9397999" y="25400"/>
                  </a:lnTo>
                  <a:lnTo>
                    <a:pt x="9397999" y="50800"/>
                  </a:lnTo>
                  <a:lnTo>
                    <a:pt x="9423399" y="50800"/>
                  </a:lnTo>
                  <a:lnTo>
                    <a:pt x="9423399" y="25400"/>
                  </a:lnTo>
                  <a:close/>
                </a:path>
                <a:path w="11160125" h="76200">
                  <a:moveTo>
                    <a:pt x="9474199" y="25400"/>
                  </a:moveTo>
                  <a:lnTo>
                    <a:pt x="9448799" y="25400"/>
                  </a:lnTo>
                  <a:lnTo>
                    <a:pt x="9448799" y="50800"/>
                  </a:lnTo>
                  <a:lnTo>
                    <a:pt x="9474199" y="50800"/>
                  </a:lnTo>
                  <a:lnTo>
                    <a:pt x="9474199" y="25400"/>
                  </a:lnTo>
                  <a:close/>
                </a:path>
                <a:path w="11160125" h="76200">
                  <a:moveTo>
                    <a:pt x="9524999" y="25400"/>
                  </a:moveTo>
                  <a:lnTo>
                    <a:pt x="9499599" y="25400"/>
                  </a:lnTo>
                  <a:lnTo>
                    <a:pt x="9499599" y="50800"/>
                  </a:lnTo>
                  <a:lnTo>
                    <a:pt x="9524999" y="50800"/>
                  </a:lnTo>
                  <a:lnTo>
                    <a:pt x="9524999" y="25400"/>
                  </a:lnTo>
                  <a:close/>
                </a:path>
                <a:path w="11160125" h="76200">
                  <a:moveTo>
                    <a:pt x="9575799" y="25400"/>
                  </a:moveTo>
                  <a:lnTo>
                    <a:pt x="9550399" y="25400"/>
                  </a:lnTo>
                  <a:lnTo>
                    <a:pt x="9550399" y="50800"/>
                  </a:lnTo>
                  <a:lnTo>
                    <a:pt x="9575799" y="50800"/>
                  </a:lnTo>
                  <a:lnTo>
                    <a:pt x="9575799" y="25400"/>
                  </a:lnTo>
                  <a:close/>
                </a:path>
                <a:path w="11160125" h="76200">
                  <a:moveTo>
                    <a:pt x="9626599" y="25400"/>
                  </a:moveTo>
                  <a:lnTo>
                    <a:pt x="9601199" y="25400"/>
                  </a:lnTo>
                  <a:lnTo>
                    <a:pt x="9601199" y="50800"/>
                  </a:lnTo>
                  <a:lnTo>
                    <a:pt x="9626599" y="50800"/>
                  </a:lnTo>
                  <a:lnTo>
                    <a:pt x="9626599" y="25400"/>
                  </a:lnTo>
                  <a:close/>
                </a:path>
                <a:path w="11160125" h="76200">
                  <a:moveTo>
                    <a:pt x="9677399" y="25400"/>
                  </a:moveTo>
                  <a:lnTo>
                    <a:pt x="9651999" y="25400"/>
                  </a:lnTo>
                  <a:lnTo>
                    <a:pt x="9651999" y="50800"/>
                  </a:lnTo>
                  <a:lnTo>
                    <a:pt x="9677399" y="50800"/>
                  </a:lnTo>
                  <a:lnTo>
                    <a:pt x="9677399" y="25400"/>
                  </a:lnTo>
                  <a:close/>
                </a:path>
                <a:path w="11160125" h="76200">
                  <a:moveTo>
                    <a:pt x="9728199" y="25400"/>
                  </a:moveTo>
                  <a:lnTo>
                    <a:pt x="9702799" y="25400"/>
                  </a:lnTo>
                  <a:lnTo>
                    <a:pt x="9702799" y="50800"/>
                  </a:lnTo>
                  <a:lnTo>
                    <a:pt x="9728199" y="50800"/>
                  </a:lnTo>
                  <a:lnTo>
                    <a:pt x="9728199" y="25400"/>
                  </a:lnTo>
                  <a:close/>
                </a:path>
                <a:path w="11160125" h="76200">
                  <a:moveTo>
                    <a:pt x="9778999" y="25400"/>
                  </a:moveTo>
                  <a:lnTo>
                    <a:pt x="9753599" y="25400"/>
                  </a:lnTo>
                  <a:lnTo>
                    <a:pt x="9753599" y="50800"/>
                  </a:lnTo>
                  <a:lnTo>
                    <a:pt x="9778999" y="50800"/>
                  </a:lnTo>
                  <a:lnTo>
                    <a:pt x="9778999" y="25400"/>
                  </a:lnTo>
                  <a:close/>
                </a:path>
                <a:path w="11160125" h="76200">
                  <a:moveTo>
                    <a:pt x="9829799" y="25400"/>
                  </a:moveTo>
                  <a:lnTo>
                    <a:pt x="9804399" y="25400"/>
                  </a:lnTo>
                  <a:lnTo>
                    <a:pt x="9804399" y="50800"/>
                  </a:lnTo>
                  <a:lnTo>
                    <a:pt x="9829799" y="50800"/>
                  </a:lnTo>
                  <a:lnTo>
                    <a:pt x="9829799" y="25400"/>
                  </a:lnTo>
                  <a:close/>
                </a:path>
                <a:path w="11160125" h="76200">
                  <a:moveTo>
                    <a:pt x="9880599" y="25400"/>
                  </a:moveTo>
                  <a:lnTo>
                    <a:pt x="9855199" y="25400"/>
                  </a:lnTo>
                  <a:lnTo>
                    <a:pt x="9855199" y="50800"/>
                  </a:lnTo>
                  <a:lnTo>
                    <a:pt x="9880599" y="50800"/>
                  </a:lnTo>
                  <a:lnTo>
                    <a:pt x="9880599" y="25400"/>
                  </a:lnTo>
                  <a:close/>
                </a:path>
                <a:path w="11160125" h="76200">
                  <a:moveTo>
                    <a:pt x="9931399" y="25400"/>
                  </a:moveTo>
                  <a:lnTo>
                    <a:pt x="9905999" y="25400"/>
                  </a:lnTo>
                  <a:lnTo>
                    <a:pt x="9905999" y="50800"/>
                  </a:lnTo>
                  <a:lnTo>
                    <a:pt x="9931399" y="50800"/>
                  </a:lnTo>
                  <a:lnTo>
                    <a:pt x="9931399" y="25400"/>
                  </a:lnTo>
                  <a:close/>
                </a:path>
                <a:path w="11160125" h="76200">
                  <a:moveTo>
                    <a:pt x="9982199" y="25400"/>
                  </a:moveTo>
                  <a:lnTo>
                    <a:pt x="9956799" y="25400"/>
                  </a:lnTo>
                  <a:lnTo>
                    <a:pt x="9956799" y="50800"/>
                  </a:lnTo>
                  <a:lnTo>
                    <a:pt x="9982199" y="50800"/>
                  </a:lnTo>
                  <a:lnTo>
                    <a:pt x="9982199" y="25400"/>
                  </a:lnTo>
                  <a:close/>
                </a:path>
                <a:path w="11160125" h="76200">
                  <a:moveTo>
                    <a:pt x="10032999" y="25400"/>
                  </a:moveTo>
                  <a:lnTo>
                    <a:pt x="10007599" y="25400"/>
                  </a:lnTo>
                  <a:lnTo>
                    <a:pt x="10007599" y="50800"/>
                  </a:lnTo>
                  <a:lnTo>
                    <a:pt x="10032999" y="50800"/>
                  </a:lnTo>
                  <a:lnTo>
                    <a:pt x="10032999" y="25400"/>
                  </a:lnTo>
                  <a:close/>
                </a:path>
                <a:path w="11160125" h="76200">
                  <a:moveTo>
                    <a:pt x="10083799" y="25400"/>
                  </a:moveTo>
                  <a:lnTo>
                    <a:pt x="10058399" y="25400"/>
                  </a:lnTo>
                  <a:lnTo>
                    <a:pt x="10058399" y="50800"/>
                  </a:lnTo>
                  <a:lnTo>
                    <a:pt x="10083799" y="50800"/>
                  </a:lnTo>
                  <a:lnTo>
                    <a:pt x="10083799" y="25400"/>
                  </a:lnTo>
                  <a:close/>
                </a:path>
                <a:path w="11160125" h="76200">
                  <a:moveTo>
                    <a:pt x="10134599" y="25400"/>
                  </a:moveTo>
                  <a:lnTo>
                    <a:pt x="10109199" y="25400"/>
                  </a:lnTo>
                  <a:lnTo>
                    <a:pt x="10109199" y="50800"/>
                  </a:lnTo>
                  <a:lnTo>
                    <a:pt x="10134599" y="50800"/>
                  </a:lnTo>
                  <a:lnTo>
                    <a:pt x="10134599" y="25400"/>
                  </a:lnTo>
                  <a:close/>
                </a:path>
                <a:path w="11160125" h="76200">
                  <a:moveTo>
                    <a:pt x="10185399" y="25400"/>
                  </a:moveTo>
                  <a:lnTo>
                    <a:pt x="10159999" y="25400"/>
                  </a:lnTo>
                  <a:lnTo>
                    <a:pt x="10159999" y="50800"/>
                  </a:lnTo>
                  <a:lnTo>
                    <a:pt x="10185399" y="50800"/>
                  </a:lnTo>
                  <a:lnTo>
                    <a:pt x="10185399" y="25400"/>
                  </a:lnTo>
                  <a:close/>
                </a:path>
                <a:path w="11160125" h="76200">
                  <a:moveTo>
                    <a:pt x="10236199" y="25400"/>
                  </a:moveTo>
                  <a:lnTo>
                    <a:pt x="10210799" y="25400"/>
                  </a:lnTo>
                  <a:lnTo>
                    <a:pt x="10210799" y="50800"/>
                  </a:lnTo>
                  <a:lnTo>
                    <a:pt x="10236199" y="50800"/>
                  </a:lnTo>
                  <a:lnTo>
                    <a:pt x="10236199" y="25400"/>
                  </a:lnTo>
                  <a:close/>
                </a:path>
                <a:path w="11160125" h="76200">
                  <a:moveTo>
                    <a:pt x="10286999" y="25400"/>
                  </a:moveTo>
                  <a:lnTo>
                    <a:pt x="10261599" y="25400"/>
                  </a:lnTo>
                  <a:lnTo>
                    <a:pt x="10261599" y="50800"/>
                  </a:lnTo>
                  <a:lnTo>
                    <a:pt x="10286999" y="50800"/>
                  </a:lnTo>
                  <a:lnTo>
                    <a:pt x="10286999" y="25400"/>
                  </a:lnTo>
                  <a:close/>
                </a:path>
                <a:path w="11160125" h="76200">
                  <a:moveTo>
                    <a:pt x="10337799" y="25400"/>
                  </a:moveTo>
                  <a:lnTo>
                    <a:pt x="10312399" y="25400"/>
                  </a:lnTo>
                  <a:lnTo>
                    <a:pt x="10312399" y="50800"/>
                  </a:lnTo>
                  <a:lnTo>
                    <a:pt x="10337799" y="50800"/>
                  </a:lnTo>
                  <a:lnTo>
                    <a:pt x="10337799" y="25400"/>
                  </a:lnTo>
                  <a:close/>
                </a:path>
                <a:path w="11160125" h="76200">
                  <a:moveTo>
                    <a:pt x="10388599" y="25400"/>
                  </a:moveTo>
                  <a:lnTo>
                    <a:pt x="10363199" y="25400"/>
                  </a:lnTo>
                  <a:lnTo>
                    <a:pt x="10363199" y="50800"/>
                  </a:lnTo>
                  <a:lnTo>
                    <a:pt x="10388599" y="50800"/>
                  </a:lnTo>
                  <a:lnTo>
                    <a:pt x="10388599" y="25400"/>
                  </a:lnTo>
                  <a:close/>
                </a:path>
                <a:path w="11160125" h="76200">
                  <a:moveTo>
                    <a:pt x="10439399" y="25400"/>
                  </a:moveTo>
                  <a:lnTo>
                    <a:pt x="10413999" y="25400"/>
                  </a:lnTo>
                  <a:lnTo>
                    <a:pt x="10413999" y="50800"/>
                  </a:lnTo>
                  <a:lnTo>
                    <a:pt x="10439399" y="50800"/>
                  </a:lnTo>
                  <a:lnTo>
                    <a:pt x="10439399" y="25400"/>
                  </a:lnTo>
                  <a:close/>
                </a:path>
                <a:path w="11160125" h="76200">
                  <a:moveTo>
                    <a:pt x="10490199" y="25400"/>
                  </a:moveTo>
                  <a:lnTo>
                    <a:pt x="10464799" y="25400"/>
                  </a:lnTo>
                  <a:lnTo>
                    <a:pt x="10464799" y="50800"/>
                  </a:lnTo>
                  <a:lnTo>
                    <a:pt x="10490199" y="50800"/>
                  </a:lnTo>
                  <a:lnTo>
                    <a:pt x="10490199" y="25400"/>
                  </a:lnTo>
                  <a:close/>
                </a:path>
                <a:path w="11160125" h="76200">
                  <a:moveTo>
                    <a:pt x="10540999" y="25400"/>
                  </a:moveTo>
                  <a:lnTo>
                    <a:pt x="10515599" y="25400"/>
                  </a:lnTo>
                  <a:lnTo>
                    <a:pt x="10515599" y="50800"/>
                  </a:lnTo>
                  <a:lnTo>
                    <a:pt x="10540999" y="50800"/>
                  </a:lnTo>
                  <a:lnTo>
                    <a:pt x="10540999" y="25400"/>
                  </a:lnTo>
                  <a:close/>
                </a:path>
                <a:path w="11160125" h="76200">
                  <a:moveTo>
                    <a:pt x="10591799" y="25400"/>
                  </a:moveTo>
                  <a:lnTo>
                    <a:pt x="10566399" y="25400"/>
                  </a:lnTo>
                  <a:lnTo>
                    <a:pt x="10566399" y="50800"/>
                  </a:lnTo>
                  <a:lnTo>
                    <a:pt x="10591799" y="50800"/>
                  </a:lnTo>
                  <a:lnTo>
                    <a:pt x="10591799" y="25400"/>
                  </a:lnTo>
                  <a:close/>
                </a:path>
                <a:path w="11160125" h="76200">
                  <a:moveTo>
                    <a:pt x="10642599" y="25400"/>
                  </a:moveTo>
                  <a:lnTo>
                    <a:pt x="10617199" y="25400"/>
                  </a:lnTo>
                  <a:lnTo>
                    <a:pt x="10617199" y="50800"/>
                  </a:lnTo>
                  <a:lnTo>
                    <a:pt x="10642599" y="50800"/>
                  </a:lnTo>
                  <a:lnTo>
                    <a:pt x="10642599" y="25400"/>
                  </a:lnTo>
                  <a:close/>
                </a:path>
                <a:path w="11160125" h="76200">
                  <a:moveTo>
                    <a:pt x="10693399" y="25400"/>
                  </a:moveTo>
                  <a:lnTo>
                    <a:pt x="10667999" y="25400"/>
                  </a:lnTo>
                  <a:lnTo>
                    <a:pt x="10667999" y="50800"/>
                  </a:lnTo>
                  <a:lnTo>
                    <a:pt x="10693399" y="50800"/>
                  </a:lnTo>
                  <a:lnTo>
                    <a:pt x="10693399" y="25400"/>
                  </a:lnTo>
                  <a:close/>
                </a:path>
                <a:path w="11160125" h="76200">
                  <a:moveTo>
                    <a:pt x="10744199" y="25400"/>
                  </a:moveTo>
                  <a:lnTo>
                    <a:pt x="10718799" y="25400"/>
                  </a:lnTo>
                  <a:lnTo>
                    <a:pt x="10718799" y="50800"/>
                  </a:lnTo>
                  <a:lnTo>
                    <a:pt x="10744199" y="50800"/>
                  </a:lnTo>
                  <a:lnTo>
                    <a:pt x="10744199" y="25400"/>
                  </a:lnTo>
                  <a:close/>
                </a:path>
                <a:path w="11160125" h="76200">
                  <a:moveTo>
                    <a:pt x="10794999" y="25400"/>
                  </a:moveTo>
                  <a:lnTo>
                    <a:pt x="10769599" y="25400"/>
                  </a:lnTo>
                  <a:lnTo>
                    <a:pt x="10769599" y="50800"/>
                  </a:lnTo>
                  <a:lnTo>
                    <a:pt x="10794999" y="50800"/>
                  </a:lnTo>
                  <a:lnTo>
                    <a:pt x="10794999" y="25400"/>
                  </a:lnTo>
                  <a:close/>
                </a:path>
                <a:path w="11160125" h="76200">
                  <a:moveTo>
                    <a:pt x="10845799" y="25400"/>
                  </a:moveTo>
                  <a:lnTo>
                    <a:pt x="10820399" y="25400"/>
                  </a:lnTo>
                  <a:lnTo>
                    <a:pt x="10820399" y="50800"/>
                  </a:lnTo>
                  <a:lnTo>
                    <a:pt x="10845799" y="50800"/>
                  </a:lnTo>
                  <a:lnTo>
                    <a:pt x="10845799" y="25400"/>
                  </a:lnTo>
                  <a:close/>
                </a:path>
                <a:path w="11160125" h="76200">
                  <a:moveTo>
                    <a:pt x="10896599" y="25400"/>
                  </a:moveTo>
                  <a:lnTo>
                    <a:pt x="10871199" y="25400"/>
                  </a:lnTo>
                  <a:lnTo>
                    <a:pt x="10871199" y="50800"/>
                  </a:lnTo>
                  <a:lnTo>
                    <a:pt x="10896599" y="50800"/>
                  </a:lnTo>
                  <a:lnTo>
                    <a:pt x="10896599" y="25400"/>
                  </a:lnTo>
                  <a:close/>
                </a:path>
                <a:path w="11160125" h="76200">
                  <a:moveTo>
                    <a:pt x="10947399" y="25400"/>
                  </a:moveTo>
                  <a:lnTo>
                    <a:pt x="10921999" y="25400"/>
                  </a:lnTo>
                  <a:lnTo>
                    <a:pt x="10921999" y="50800"/>
                  </a:lnTo>
                  <a:lnTo>
                    <a:pt x="10947399" y="50800"/>
                  </a:lnTo>
                  <a:lnTo>
                    <a:pt x="10947399" y="25400"/>
                  </a:lnTo>
                  <a:close/>
                </a:path>
                <a:path w="11160125" h="76200">
                  <a:moveTo>
                    <a:pt x="10998199" y="25400"/>
                  </a:moveTo>
                  <a:lnTo>
                    <a:pt x="10972799" y="25400"/>
                  </a:lnTo>
                  <a:lnTo>
                    <a:pt x="10972799" y="50800"/>
                  </a:lnTo>
                  <a:lnTo>
                    <a:pt x="10998199" y="50800"/>
                  </a:lnTo>
                  <a:lnTo>
                    <a:pt x="10998199" y="25400"/>
                  </a:lnTo>
                  <a:close/>
                </a:path>
                <a:path w="11160125" h="76200">
                  <a:moveTo>
                    <a:pt x="11048999" y="25400"/>
                  </a:moveTo>
                  <a:lnTo>
                    <a:pt x="11023599" y="25400"/>
                  </a:lnTo>
                  <a:lnTo>
                    <a:pt x="11023599" y="50800"/>
                  </a:lnTo>
                  <a:lnTo>
                    <a:pt x="11048999" y="50800"/>
                  </a:lnTo>
                  <a:lnTo>
                    <a:pt x="11048999" y="25400"/>
                  </a:lnTo>
                  <a:close/>
                </a:path>
                <a:path w="11160125" h="76200">
                  <a:moveTo>
                    <a:pt x="11083800" y="0"/>
                  </a:moveTo>
                  <a:lnTo>
                    <a:pt x="11083800" y="76200"/>
                  </a:lnTo>
                  <a:lnTo>
                    <a:pt x="11134600" y="50800"/>
                  </a:lnTo>
                  <a:lnTo>
                    <a:pt x="11096507" y="50800"/>
                  </a:lnTo>
                  <a:lnTo>
                    <a:pt x="11096507" y="25400"/>
                  </a:lnTo>
                  <a:lnTo>
                    <a:pt x="11134600" y="25400"/>
                  </a:lnTo>
                  <a:lnTo>
                    <a:pt x="11083800" y="0"/>
                  </a:lnTo>
                  <a:close/>
                </a:path>
                <a:path w="11160125" h="76200">
                  <a:moveTo>
                    <a:pt x="11083800" y="25400"/>
                  </a:moveTo>
                  <a:lnTo>
                    <a:pt x="11074399" y="25400"/>
                  </a:lnTo>
                  <a:lnTo>
                    <a:pt x="11074399" y="50800"/>
                  </a:lnTo>
                  <a:lnTo>
                    <a:pt x="11083800" y="50800"/>
                  </a:lnTo>
                  <a:lnTo>
                    <a:pt x="11083800" y="25400"/>
                  </a:lnTo>
                  <a:close/>
                </a:path>
                <a:path w="11160125" h="76200">
                  <a:moveTo>
                    <a:pt x="11134600" y="25400"/>
                  </a:moveTo>
                  <a:lnTo>
                    <a:pt x="11096507" y="25400"/>
                  </a:lnTo>
                  <a:lnTo>
                    <a:pt x="11096507" y="50800"/>
                  </a:lnTo>
                  <a:lnTo>
                    <a:pt x="11134600" y="50800"/>
                  </a:lnTo>
                  <a:lnTo>
                    <a:pt x="11160000" y="38100"/>
                  </a:lnTo>
                  <a:lnTo>
                    <a:pt x="11134600" y="25400"/>
                  </a:lnTo>
                  <a:close/>
                </a:path>
              </a:pathLst>
            </a:custGeom>
            <a:solidFill>
              <a:srgbClr val="6D6E7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992238" y="1822792"/>
              <a:ext cx="4680585" cy="1550670"/>
            </a:xfrm>
            <a:custGeom>
              <a:avLst/>
              <a:gdLst/>
              <a:ahLst/>
              <a:cxnLst/>
              <a:rect l="l" t="t" r="r" b="b"/>
              <a:pathLst>
                <a:path w="4680585" h="1550670">
                  <a:moveTo>
                    <a:pt x="720001" y="0"/>
                  </a:moveTo>
                  <a:lnTo>
                    <a:pt x="0" y="0"/>
                  </a:lnTo>
                  <a:lnTo>
                    <a:pt x="0" y="1550428"/>
                  </a:lnTo>
                  <a:lnTo>
                    <a:pt x="720001" y="1550428"/>
                  </a:lnTo>
                  <a:lnTo>
                    <a:pt x="720001" y="0"/>
                  </a:lnTo>
                  <a:close/>
                </a:path>
                <a:path w="4680585" h="1550670">
                  <a:moveTo>
                    <a:pt x="4680001" y="0"/>
                  </a:moveTo>
                  <a:lnTo>
                    <a:pt x="3959999" y="0"/>
                  </a:lnTo>
                  <a:lnTo>
                    <a:pt x="3959999" y="1550428"/>
                  </a:lnTo>
                  <a:lnTo>
                    <a:pt x="4680001" y="1550428"/>
                  </a:lnTo>
                  <a:lnTo>
                    <a:pt x="468000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503299" y="1415999"/>
            <a:ext cx="5187315" cy="1917064"/>
          </a:xfrm>
          <a:prstGeom prst="rect">
            <a:avLst/>
          </a:prstGeom>
        </p:spPr>
        <p:txBody>
          <a:bodyPr vert="horz" wrap="square" lIns="0" tIns="2984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34"/>
              </a:spcBef>
            </a:pPr>
            <a:r>
              <a:rPr sz="1600" b="1" spc="-5" dirty="0">
                <a:solidFill>
                  <a:srgbClr val="6D6E71"/>
                </a:solidFill>
                <a:latin typeface="Segoe UI"/>
                <a:cs typeface="Segoe UI"/>
              </a:rPr>
              <a:t>Проверка</a:t>
            </a:r>
            <a:r>
              <a:rPr sz="1600" b="1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b="1" spc="-15" dirty="0">
                <a:solidFill>
                  <a:srgbClr val="6D6E71"/>
                </a:solidFill>
                <a:latin typeface="Segoe UI"/>
                <a:cs typeface="Segoe UI"/>
              </a:rPr>
              <a:t>кода</a:t>
            </a:r>
            <a:r>
              <a:rPr sz="1600" b="1" spc="-5" dirty="0">
                <a:solidFill>
                  <a:srgbClr val="6D6E71"/>
                </a:solidFill>
                <a:latin typeface="Segoe UI"/>
                <a:cs typeface="Segoe UI"/>
              </a:rPr>
              <a:t> маркировки</a:t>
            </a:r>
            <a:r>
              <a:rPr sz="1600" b="1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600" b="1" spc="-10" dirty="0">
                <a:solidFill>
                  <a:srgbClr val="6D6E71"/>
                </a:solidFill>
                <a:latin typeface="Segoe UI"/>
                <a:cs typeface="Segoe UI"/>
              </a:rPr>
              <a:t>состоит </a:t>
            </a:r>
            <a:r>
              <a:rPr sz="1600" b="1" spc="-5" dirty="0">
                <a:solidFill>
                  <a:srgbClr val="6D6E71"/>
                </a:solidFill>
                <a:latin typeface="Segoe UI"/>
                <a:cs typeface="Segoe UI"/>
              </a:rPr>
              <a:t>из </a:t>
            </a:r>
            <a:r>
              <a:rPr sz="1600" b="1" dirty="0">
                <a:solidFill>
                  <a:srgbClr val="6D6E71"/>
                </a:solidFill>
                <a:latin typeface="Segoe UI"/>
                <a:cs typeface="Segoe UI"/>
              </a:rPr>
              <a:t>3 </a:t>
            </a:r>
            <a:r>
              <a:rPr sz="1600" b="1" spc="-10" dirty="0">
                <a:solidFill>
                  <a:srgbClr val="6D6E71"/>
                </a:solidFill>
                <a:latin typeface="Segoe UI"/>
                <a:cs typeface="Segoe UI"/>
              </a:rPr>
              <a:t>этапов</a:t>
            </a:r>
            <a:endParaRPr sz="1600">
              <a:latin typeface="Segoe UI"/>
              <a:cs typeface="Segoe UI"/>
            </a:endParaRPr>
          </a:p>
          <a:p>
            <a:pPr marL="483234">
              <a:lnSpc>
                <a:spcPct val="100000"/>
              </a:lnSpc>
              <a:spcBef>
                <a:spcPts val="840"/>
              </a:spcBef>
              <a:tabLst>
                <a:tab pos="4443730" algn="l"/>
              </a:tabLst>
            </a:pPr>
            <a:r>
              <a:rPr sz="10000" b="1" dirty="0">
                <a:solidFill>
                  <a:srgbClr val="D9D9D9"/>
                </a:solidFill>
                <a:latin typeface="Segoe UI"/>
                <a:cs typeface="Segoe UI"/>
              </a:rPr>
              <a:t>1	2</a:t>
            </a:r>
            <a:endParaRPr sz="10000">
              <a:latin typeface="Segoe UI"/>
              <a:cs typeface="Segoe UI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8912250" y="1822787"/>
            <a:ext cx="720090" cy="1550670"/>
          </a:xfrm>
          <a:custGeom>
            <a:avLst/>
            <a:gdLst/>
            <a:ahLst/>
            <a:cxnLst/>
            <a:rect l="l" t="t" r="r" b="b"/>
            <a:pathLst>
              <a:path w="720090" h="1550670">
                <a:moveTo>
                  <a:pt x="719999" y="0"/>
                </a:moveTo>
                <a:lnTo>
                  <a:pt x="0" y="0"/>
                </a:lnTo>
                <a:lnTo>
                  <a:pt x="0" y="1550423"/>
                </a:lnTo>
                <a:lnTo>
                  <a:pt x="719999" y="1550423"/>
                </a:lnTo>
                <a:lnTo>
                  <a:pt x="71999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8894424" y="1783587"/>
            <a:ext cx="756285" cy="15494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0" b="1" dirty="0">
                <a:solidFill>
                  <a:srgbClr val="D9D9D9"/>
                </a:solidFill>
                <a:latin typeface="Segoe UI"/>
                <a:cs typeface="Segoe UI"/>
              </a:rPr>
              <a:t>3</a:t>
            </a:r>
            <a:endParaRPr sz="10000">
              <a:latin typeface="Segoe UI"/>
              <a:cs typeface="Segoe UI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1902749" y="2097864"/>
            <a:ext cx="8938895" cy="1080135"/>
            <a:chOff x="1902749" y="2097864"/>
            <a:chExt cx="8938895" cy="1080135"/>
          </a:xfrm>
        </p:grpSpPr>
        <p:pic>
          <p:nvPicPr>
            <p:cNvPr id="18" name="object 1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902749" y="2097864"/>
              <a:ext cx="1080000" cy="1080000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862749" y="2097864"/>
              <a:ext cx="1080000" cy="1080000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9761260" y="2097864"/>
              <a:ext cx="1080000" cy="108000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096001" y="359999"/>
            <a:ext cx="5580380" cy="900430"/>
          </a:xfrm>
          <a:custGeom>
            <a:avLst/>
            <a:gdLst/>
            <a:ahLst/>
            <a:cxnLst/>
            <a:rect l="l" t="t" r="r" b="b"/>
            <a:pathLst>
              <a:path w="5580380" h="900430">
                <a:moveTo>
                  <a:pt x="5429996" y="0"/>
                </a:moveTo>
                <a:lnTo>
                  <a:pt x="150002" y="0"/>
                </a:lnTo>
                <a:lnTo>
                  <a:pt x="102589" y="7647"/>
                </a:lnTo>
                <a:lnTo>
                  <a:pt x="61412" y="28941"/>
                </a:lnTo>
                <a:lnTo>
                  <a:pt x="28941" y="61413"/>
                </a:lnTo>
                <a:lnTo>
                  <a:pt x="7647" y="102590"/>
                </a:lnTo>
                <a:lnTo>
                  <a:pt x="0" y="150002"/>
                </a:lnTo>
                <a:lnTo>
                  <a:pt x="0" y="749997"/>
                </a:lnTo>
                <a:lnTo>
                  <a:pt x="7647" y="797409"/>
                </a:lnTo>
                <a:lnTo>
                  <a:pt x="28941" y="838586"/>
                </a:lnTo>
                <a:lnTo>
                  <a:pt x="61412" y="871057"/>
                </a:lnTo>
                <a:lnTo>
                  <a:pt x="102589" y="892352"/>
                </a:lnTo>
                <a:lnTo>
                  <a:pt x="150002" y="899999"/>
                </a:lnTo>
                <a:lnTo>
                  <a:pt x="5429996" y="899999"/>
                </a:lnTo>
                <a:lnTo>
                  <a:pt x="5477409" y="892352"/>
                </a:lnTo>
                <a:lnTo>
                  <a:pt x="5518586" y="871057"/>
                </a:lnTo>
                <a:lnTo>
                  <a:pt x="5551057" y="838586"/>
                </a:lnTo>
                <a:lnTo>
                  <a:pt x="5572351" y="797409"/>
                </a:lnTo>
                <a:lnTo>
                  <a:pt x="5579999" y="749997"/>
                </a:lnTo>
                <a:lnTo>
                  <a:pt x="5579999" y="150002"/>
                </a:lnTo>
                <a:lnTo>
                  <a:pt x="5572351" y="102590"/>
                </a:lnTo>
                <a:lnTo>
                  <a:pt x="5551057" y="61413"/>
                </a:lnTo>
                <a:lnTo>
                  <a:pt x="5518586" y="28941"/>
                </a:lnTo>
                <a:lnTo>
                  <a:pt x="5477409" y="7647"/>
                </a:lnTo>
                <a:lnTo>
                  <a:pt x="5429996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461510" marR="5080">
              <a:lnSpc>
                <a:spcPct val="100000"/>
              </a:lnSpc>
              <a:spcBef>
                <a:spcPts val="100"/>
              </a:spcBef>
            </a:pPr>
            <a:r>
              <a:rPr spc="-15" dirty="0"/>
              <a:t>Что</a:t>
            </a:r>
            <a:r>
              <a:rPr spc="-35" dirty="0"/>
              <a:t> </a:t>
            </a:r>
            <a:r>
              <a:rPr spc="-5" dirty="0"/>
              <a:t>получит</a:t>
            </a:r>
            <a:r>
              <a:rPr spc="-35" dirty="0"/>
              <a:t> </a:t>
            </a:r>
            <a:r>
              <a:rPr spc="-10" dirty="0"/>
              <a:t>«покупатель» </a:t>
            </a:r>
            <a:r>
              <a:rPr spc="-645" dirty="0"/>
              <a:t> </a:t>
            </a:r>
            <a:r>
              <a:rPr spc="-20" dirty="0"/>
              <a:t>от</a:t>
            </a:r>
            <a:r>
              <a:rPr spc="-15" dirty="0"/>
              <a:t> </a:t>
            </a:r>
            <a:r>
              <a:rPr spc="-5" dirty="0"/>
              <a:t>внедрения</a:t>
            </a:r>
            <a:r>
              <a:rPr spc="-15" dirty="0"/>
              <a:t> </a:t>
            </a:r>
            <a:r>
              <a:rPr spc="-10" dirty="0"/>
              <a:t>ФФД</a:t>
            </a:r>
            <a:r>
              <a:rPr spc="-5" dirty="0"/>
              <a:t> 1.2</a:t>
            </a: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187440" y="3207965"/>
            <a:ext cx="152400" cy="165100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6517640" y="3145028"/>
            <a:ext cx="4476115" cy="151892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 marR="5080">
              <a:lnSpc>
                <a:spcPct val="99400"/>
              </a:lnSpc>
              <a:spcBef>
                <a:spcPts val="110"/>
              </a:spcBef>
            </a:pP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Покупатель </a:t>
            </a:r>
            <a:r>
              <a:rPr sz="1800" spc="-20" dirty="0">
                <a:solidFill>
                  <a:srgbClr val="6D6E71"/>
                </a:solidFill>
                <a:latin typeface="Segoe UI"/>
                <a:cs typeface="Segoe UI"/>
              </a:rPr>
              <a:t>сможет 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увидеть через </a:t>
            </a:r>
            <a:r>
              <a:rPr sz="1800" dirty="0">
                <a:solidFill>
                  <a:srgbClr val="6D6E71"/>
                </a:solidFill>
                <a:latin typeface="Segoe UI"/>
                <a:cs typeface="Segoe UI"/>
              </a:rPr>
              <a:t>статусы </a:t>
            </a:r>
            <a:r>
              <a:rPr sz="1800" spc="-48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10" dirty="0">
                <a:solidFill>
                  <a:srgbClr val="6D6E71"/>
                </a:solidFill>
                <a:latin typeface="Segoe UI"/>
                <a:cs typeface="Segoe UI"/>
              </a:rPr>
              <a:t>легальность товаров </a:t>
            </a:r>
            <a:r>
              <a:rPr sz="1800" dirty="0">
                <a:solidFill>
                  <a:srgbClr val="6D6E71"/>
                </a:solidFill>
                <a:latin typeface="Segoe UI"/>
                <a:cs typeface="Segoe UI"/>
              </a:rPr>
              <a:t>в 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бумажном </a:t>
            </a:r>
            <a:r>
              <a:rPr sz="1800" dirty="0">
                <a:solidFill>
                  <a:srgbClr val="6D6E71"/>
                </a:solidFill>
                <a:latin typeface="Segoe UI"/>
                <a:cs typeface="Segoe UI"/>
              </a:rPr>
              <a:t>и </a:t>
            </a:r>
            <a:r>
              <a:rPr sz="1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электронном</a:t>
            </a:r>
            <a:r>
              <a:rPr sz="1800" spc="-15" dirty="0">
                <a:solidFill>
                  <a:srgbClr val="6D6E71"/>
                </a:solidFill>
                <a:latin typeface="Segoe UI"/>
                <a:cs typeface="Segoe UI"/>
              </a:rPr>
              <a:t> чеке</a:t>
            </a:r>
            <a:endParaRPr sz="1800">
              <a:latin typeface="Segoe UI"/>
              <a:cs typeface="Segoe UI"/>
            </a:endParaRPr>
          </a:p>
          <a:p>
            <a:pPr marL="12700" marR="46990">
              <a:lnSpc>
                <a:spcPct val="102200"/>
              </a:lnSpc>
              <a:spcBef>
                <a:spcPts val="890"/>
              </a:spcBef>
            </a:pPr>
            <a:r>
              <a:rPr sz="1800" spc="-10" dirty="0">
                <a:solidFill>
                  <a:srgbClr val="6D6E71"/>
                </a:solidFill>
                <a:latin typeface="Segoe UI"/>
                <a:cs typeface="Segoe UI"/>
              </a:rPr>
              <a:t>Возможность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10" dirty="0">
                <a:solidFill>
                  <a:srgbClr val="6D6E71"/>
                </a:solidFill>
                <a:latin typeface="Segoe UI"/>
                <a:cs typeface="Segoe UI"/>
              </a:rPr>
              <a:t>запретительной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 системы</a:t>
            </a:r>
            <a:r>
              <a:rPr sz="18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по </a:t>
            </a:r>
            <a:r>
              <a:rPr sz="1800" spc="-47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опасным</a:t>
            </a:r>
            <a:r>
              <a:rPr sz="1800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5" dirty="0">
                <a:solidFill>
                  <a:srgbClr val="6D6E71"/>
                </a:solidFill>
                <a:latin typeface="Segoe UI"/>
                <a:cs typeface="Segoe UI"/>
              </a:rPr>
              <a:t>для</a:t>
            </a:r>
            <a:r>
              <a:rPr sz="1800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здоровья</a:t>
            </a:r>
            <a:r>
              <a:rPr sz="1800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10" dirty="0">
                <a:solidFill>
                  <a:srgbClr val="6D6E71"/>
                </a:solidFill>
                <a:latin typeface="Segoe UI"/>
                <a:cs typeface="Segoe UI"/>
              </a:rPr>
              <a:t>товаров</a:t>
            </a:r>
            <a:endParaRPr sz="1800">
              <a:latin typeface="Segoe UI"/>
              <a:cs typeface="Segoe UI"/>
            </a:endParaRPr>
          </a:p>
        </p:txBody>
      </p:sp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187440" y="4147765"/>
            <a:ext cx="152400" cy="165100"/>
          </a:xfrm>
          <a:prstGeom prst="rect">
            <a:avLst/>
          </a:prstGeom>
        </p:spPr>
      </p:pic>
      <p:grpSp>
        <p:nvGrpSpPr>
          <p:cNvPr id="7" name="object 7"/>
          <p:cNvGrpSpPr/>
          <p:nvPr/>
        </p:nvGrpSpPr>
        <p:grpSpPr>
          <a:xfrm>
            <a:off x="0" y="0"/>
            <a:ext cx="5486400" cy="6858000"/>
            <a:chOff x="0" y="0"/>
            <a:chExt cx="5486400" cy="6858000"/>
          </a:xfrm>
        </p:grpSpPr>
        <p:sp>
          <p:nvSpPr>
            <p:cNvPr id="8" name="object 8"/>
            <p:cNvSpPr/>
            <p:nvPr/>
          </p:nvSpPr>
          <p:spPr>
            <a:xfrm>
              <a:off x="0" y="0"/>
              <a:ext cx="5486400" cy="6858000"/>
            </a:xfrm>
            <a:custGeom>
              <a:avLst/>
              <a:gdLst/>
              <a:ahLst/>
              <a:cxnLst/>
              <a:rect l="l" t="t" r="r" b="b"/>
              <a:pathLst>
                <a:path w="5486400" h="6858000">
                  <a:moveTo>
                    <a:pt x="0" y="0"/>
                  </a:moveTo>
                  <a:lnTo>
                    <a:pt x="5486400" y="0"/>
                  </a:lnTo>
                  <a:lnTo>
                    <a:pt x="5486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D6E7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97013" y="625153"/>
              <a:ext cx="2064791" cy="5649413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590800" y="1627000"/>
              <a:ext cx="2784518" cy="3336883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15999" y="359999"/>
            <a:ext cx="11160125" cy="720090"/>
          </a:xfrm>
          <a:custGeom>
            <a:avLst/>
            <a:gdLst/>
            <a:ahLst/>
            <a:cxnLst/>
            <a:rect l="l" t="t" r="r" b="b"/>
            <a:pathLst>
              <a:path w="11160125" h="720090">
                <a:moveTo>
                  <a:pt x="11040003" y="0"/>
                </a:moveTo>
                <a:lnTo>
                  <a:pt x="119996" y="0"/>
                </a:lnTo>
                <a:lnTo>
                  <a:pt x="73288" y="9430"/>
                </a:lnTo>
                <a:lnTo>
                  <a:pt x="35146" y="35146"/>
                </a:lnTo>
                <a:lnTo>
                  <a:pt x="9429" y="73288"/>
                </a:lnTo>
                <a:lnTo>
                  <a:pt x="0" y="119997"/>
                </a:lnTo>
                <a:lnTo>
                  <a:pt x="0" y="600001"/>
                </a:lnTo>
                <a:lnTo>
                  <a:pt x="9429" y="646710"/>
                </a:lnTo>
                <a:lnTo>
                  <a:pt x="35146" y="684853"/>
                </a:lnTo>
                <a:lnTo>
                  <a:pt x="73288" y="710569"/>
                </a:lnTo>
                <a:lnTo>
                  <a:pt x="119996" y="719999"/>
                </a:lnTo>
                <a:lnTo>
                  <a:pt x="11040003" y="719999"/>
                </a:lnTo>
                <a:lnTo>
                  <a:pt x="11086711" y="710569"/>
                </a:lnTo>
                <a:lnTo>
                  <a:pt x="11124853" y="684853"/>
                </a:lnTo>
                <a:lnTo>
                  <a:pt x="11150569" y="646710"/>
                </a:lnTo>
                <a:lnTo>
                  <a:pt x="11159999" y="600001"/>
                </a:lnTo>
                <a:lnTo>
                  <a:pt x="11159999" y="119997"/>
                </a:lnTo>
                <a:lnTo>
                  <a:pt x="11150569" y="73288"/>
                </a:lnTo>
                <a:lnTo>
                  <a:pt x="11124853" y="35146"/>
                </a:lnTo>
                <a:lnTo>
                  <a:pt x="11086711" y="9430"/>
                </a:lnTo>
                <a:lnTo>
                  <a:pt x="11040003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718448" y="511555"/>
            <a:ext cx="857059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0" dirty="0"/>
              <a:t>Уведомление</a:t>
            </a:r>
            <a:r>
              <a:rPr spc="-15" dirty="0"/>
              <a:t> </a:t>
            </a:r>
            <a:r>
              <a:rPr dirty="0"/>
              <a:t>о</a:t>
            </a:r>
            <a:r>
              <a:rPr spc="-20" dirty="0"/>
              <a:t> </a:t>
            </a:r>
            <a:r>
              <a:rPr spc="-5" dirty="0"/>
              <a:t>реализации.</a:t>
            </a:r>
            <a:r>
              <a:rPr spc="-20" dirty="0"/>
              <a:t> </a:t>
            </a:r>
            <a:r>
              <a:rPr spc="-5" dirty="0"/>
              <a:t>Квитанция</a:t>
            </a:r>
            <a:r>
              <a:rPr spc="-20" dirty="0"/>
              <a:t> </a:t>
            </a:r>
            <a:r>
              <a:rPr spc="-5" dirty="0"/>
              <a:t>на</a:t>
            </a:r>
            <a:r>
              <a:rPr spc="-20" dirty="0"/>
              <a:t> </a:t>
            </a:r>
            <a:r>
              <a:rPr spc="-5" dirty="0"/>
              <a:t>уведомление.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853710" y="2926078"/>
            <a:ext cx="10874375" cy="2415540"/>
            <a:chOff x="853710" y="2926078"/>
            <a:chExt cx="10874375" cy="2415540"/>
          </a:xfrm>
        </p:grpSpPr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787870" y="2926078"/>
              <a:ext cx="1287359" cy="1287359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244470" y="2926078"/>
              <a:ext cx="1439999" cy="1287359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53710" y="2926078"/>
              <a:ext cx="1287359" cy="1287359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440444" y="4054091"/>
              <a:ext cx="1287359" cy="1287359"/>
            </a:xfrm>
            <a:prstGeom prst="rect">
              <a:avLst/>
            </a:prstGeom>
          </p:spPr>
        </p:pic>
      </p:grpSp>
      <p:sp>
        <p:nvSpPr>
          <p:cNvPr id="9" name="object 9"/>
          <p:cNvSpPr txBox="1"/>
          <p:nvPr/>
        </p:nvSpPr>
        <p:spPr>
          <a:xfrm>
            <a:off x="1130232" y="4436364"/>
            <a:ext cx="73406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К</a:t>
            </a:r>
            <a:r>
              <a:rPr sz="1400" b="1" spc="-10" dirty="0">
                <a:solidFill>
                  <a:srgbClr val="6D6E71"/>
                </a:solidFill>
                <a:latin typeface="Segoe UI"/>
                <a:cs typeface="Segoe UI"/>
              </a:rPr>
              <a:t>А</a:t>
            </a:r>
            <a:r>
              <a:rPr sz="1400" b="1" spc="-30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400" b="1" spc="5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Р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783495" y="4436364"/>
            <a:ext cx="36195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ККТ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302650" y="4436364"/>
            <a:ext cx="44704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О</a:t>
            </a:r>
            <a:r>
              <a:rPr sz="1400" b="1" spc="-10" dirty="0">
                <a:solidFill>
                  <a:srgbClr val="6D6E71"/>
                </a:solidFill>
                <a:latin typeface="Segoe UI"/>
                <a:cs typeface="Segoe UI"/>
              </a:rPr>
              <a:t>Ф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Д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0738052" y="5564123"/>
            <a:ext cx="69215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ГИС</a:t>
            </a:r>
            <a:r>
              <a:rPr sz="1400" b="1" spc="-7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МТ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126132" y="2948432"/>
            <a:ext cx="1061720" cy="42799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 marR="5080" algn="ctr">
              <a:lnSpc>
                <a:spcPct val="96700"/>
              </a:lnSpc>
              <a:spcBef>
                <a:spcPts val="135"/>
              </a:spcBef>
            </a:pP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Добавление</a:t>
            </a:r>
            <a:r>
              <a:rPr sz="900" spc="-6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товара </a:t>
            </a:r>
            <a:r>
              <a:rPr sz="900" spc="-2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в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уведомление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о 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реализации</a:t>
            </a:r>
            <a:endParaRPr sz="900">
              <a:latin typeface="Segoe UI"/>
              <a:cs typeface="Segoe UI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097925" y="3420744"/>
            <a:ext cx="3708400" cy="76200"/>
          </a:xfrm>
          <a:custGeom>
            <a:avLst/>
            <a:gdLst/>
            <a:ahLst/>
            <a:cxnLst/>
            <a:rect l="l" t="t" r="r" b="b"/>
            <a:pathLst>
              <a:path w="3708400" h="76200">
                <a:moveTo>
                  <a:pt x="1118438" y="38100"/>
                </a:moveTo>
                <a:lnTo>
                  <a:pt x="1105738" y="31750"/>
                </a:lnTo>
                <a:lnTo>
                  <a:pt x="1042238" y="0"/>
                </a:lnTo>
                <a:lnTo>
                  <a:pt x="1042238" y="31750"/>
                </a:lnTo>
                <a:lnTo>
                  <a:pt x="0" y="31750"/>
                </a:lnTo>
                <a:lnTo>
                  <a:pt x="0" y="44450"/>
                </a:lnTo>
                <a:lnTo>
                  <a:pt x="1042238" y="44450"/>
                </a:lnTo>
                <a:lnTo>
                  <a:pt x="1042238" y="76200"/>
                </a:lnTo>
                <a:lnTo>
                  <a:pt x="1105738" y="44450"/>
                </a:lnTo>
                <a:lnTo>
                  <a:pt x="1118438" y="38100"/>
                </a:lnTo>
                <a:close/>
              </a:path>
              <a:path w="3708400" h="76200">
                <a:moveTo>
                  <a:pt x="3708209" y="38100"/>
                </a:moveTo>
                <a:lnTo>
                  <a:pt x="3695509" y="31750"/>
                </a:lnTo>
                <a:lnTo>
                  <a:pt x="3632009" y="0"/>
                </a:lnTo>
                <a:lnTo>
                  <a:pt x="3632009" y="31750"/>
                </a:lnTo>
                <a:lnTo>
                  <a:pt x="2589758" y="31750"/>
                </a:lnTo>
                <a:lnTo>
                  <a:pt x="2589758" y="44450"/>
                </a:lnTo>
                <a:lnTo>
                  <a:pt x="3632009" y="44450"/>
                </a:lnTo>
                <a:lnTo>
                  <a:pt x="3632009" y="76200"/>
                </a:lnTo>
                <a:lnTo>
                  <a:pt x="3695509" y="44450"/>
                </a:lnTo>
                <a:lnTo>
                  <a:pt x="3708209" y="3810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4873057" y="2942335"/>
            <a:ext cx="748030" cy="3028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indent="6350">
              <a:lnSpc>
                <a:spcPct val="102200"/>
              </a:lnSpc>
              <a:spcBef>
                <a:spcPts val="75"/>
              </a:spcBef>
            </a:pP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Уведомление </a:t>
            </a:r>
            <a:r>
              <a:rPr sz="900" spc="-2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о</a:t>
            </a:r>
            <a:r>
              <a:rPr sz="900" spc="-5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реализации</a:t>
            </a:r>
            <a:endParaRPr sz="900">
              <a:latin typeface="Segoe UI"/>
              <a:cs typeface="Segoe U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306323" y="4231640"/>
            <a:ext cx="748030" cy="3028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indent="6350">
              <a:lnSpc>
                <a:spcPct val="102200"/>
              </a:lnSpc>
              <a:spcBef>
                <a:spcPts val="75"/>
              </a:spcBef>
            </a:pP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Уведомление </a:t>
            </a:r>
            <a:r>
              <a:rPr sz="900" spc="-2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о</a:t>
            </a:r>
            <a:r>
              <a:rPr sz="900" spc="-5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реализации</a:t>
            </a:r>
            <a:endParaRPr sz="900">
              <a:latin typeface="Segoe UI"/>
              <a:cs typeface="Segoe U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116607" y="3759200"/>
            <a:ext cx="1081405" cy="42799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 marR="5080" algn="ctr">
              <a:lnSpc>
                <a:spcPct val="96700"/>
              </a:lnSpc>
              <a:spcBef>
                <a:spcPts val="135"/>
              </a:spcBef>
            </a:pP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Информирование</a:t>
            </a:r>
            <a:r>
              <a:rPr sz="900" spc="-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о </a:t>
            </a:r>
            <a:r>
              <a:rPr sz="900" spc="-2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неотправленных 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уведомлениях</a:t>
            </a:r>
            <a:endParaRPr sz="900">
              <a:latin typeface="Segoe UI"/>
              <a:cs typeface="Segoe UI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2097925" y="1592700"/>
            <a:ext cx="9603740" cy="3347085"/>
            <a:chOff x="2097925" y="1592700"/>
            <a:chExt cx="9603740" cy="3347085"/>
          </a:xfrm>
        </p:grpSpPr>
        <p:sp>
          <p:nvSpPr>
            <p:cNvPr id="19" name="object 19"/>
            <p:cNvSpPr/>
            <p:nvPr/>
          </p:nvSpPr>
          <p:spPr>
            <a:xfrm>
              <a:off x="2097925" y="3642588"/>
              <a:ext cx="3708400" cy="76200"/>
            </a:xfrm>
            <a:custGeom>
              <a:avLst/>
              <a:gdLst/>
              <a:ahLst/>
              <a:cxnLst/>
              <a:rect l="l" t="t" r="r" b="b"/>
              <a:pathLst>
                <a:path w="3708400" h="76200">
                  <a:moveTo>
                    <a:pt x="1118438" y="31750"/>
                  </a:moveTo>
                  <a:lnTo>
                    <a:pt x="76200" y="31750"/>
                  </a:lnTo>
                  <a:lnTo>
                    <a:pt x="76200" y="0"/>
                  </a:lnTo>
                  <a:lnTo>
                    <a:pt x="0" y="38100"/>
                  </a:lnTo>
                  <a:lnTo>
                    <a:pt x="76200" y="76200"/>
                  </a:lnTo>
                  <a:lnTo>
                    <a:pt x="76200" y="44450"/>
                  </a:lnTo>
                  <a:lnTo>
                    <a:pt x="1118438" y="44450"/>
                  </a:lnTo>
                  <a:lnTo>
                    <a:pt x="1118438" y="31750"/>
                  </a:lnTo>
                  <a:close/>
                </a:path>
                <a:path w="3708400" h="76200">
                  <a:moveTo>
                    <a:pt x="3708209" y="31750"/>
                  </a:moveTo>
                  <a:lnTo>
                    <a:pt x="2665958" y="31750"/>
                  </a:lnTo>
                  <a:lnTo>
                    <a:pt x="2665958" y="0"/>
                  </a:lnTo>
                  <a:lnTo>
                    <a:pt x="2589758" y="38100"/>
                  </a:lnTo>
                  <a:lnTo>
                    <a:pt x="2665958" y="76200"/>
                  </a:lnTo>
                  <a:lnTo>
                    <a:pt x="2665958" y="44450"/>
                  </a:lnTo>
                  <a:lnTo>
                    <a:pt x="3708209" y="44450"/>
                  </a:lnTo>
                  <a:lnTo>
                    <a:pt x="3708209" y="31750"/>
                  </a:lnTo>
                  <a:close/>
                </a:path>
              </a:pathLst>
            </a:custGeom>
            <a:solidFill>
              <a:srgbClr val="6D6E7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0" name="object 2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0466845" y="1592700"/>
              <a:ext cx="1234557" cy="1287359"/>
            </a:xfrm>
            <a:prstGeom prst="rect">
              <a:avLst/>
            </a:prstGeom>
          </p:spPr>
        </p:pic>
        <p:sp>
          <p:nvSpPr>
            <p:cNvPr id="21" name="object 21"/>
            <p:cNvSpPr/>
            <p:nvPr/>
          </p:nvSpPr>
          <p:spPr>
            <a:xfrm>
              <a:off x="7075221" y="2198280"/>
              <a:ext cx="3392170" cy="2741295"/>
            </a:xfrm>
            <a:custGeom>
              <a:avLst/>
              <a:gdLst/>
              <a:ahLst/>
              <a:cxnLst/>
              <a:rect l="l" t="t" r="r" b="b"/>
              <a:pathLst>
                <a:path w="3392170" h="2741295">
                  <a:moveTo>
                    <a:pt x="3365220" y="2728277"/>
                  </a:moveTo>
                  <a:lnTo>
                    <a:pt x="1688960" y="2728277"/>
                  </a:lnTo>
                  <a:lnTo>
                    <a:pt x="1688960" y="1612963"/>
                  </a:lnTo>
                  <a:lnTo>
                    <a:pt x="1688960" y="1606613"/>
                  </a:lnTo>
                  <a:lnTo>
                    <a:pt x="1688960" y="1600263"/>
                  </a:lnTo>
                  <a:lnTo>
                    <a:pt x="76200" y="1600263"/>
                  </a:lnTo>
                  <a:lnTo>
                    <a:pt x="76200" y="1568513"/>
                  </a:lnTo>
                  <a:lnTo>
                    <a:pt x="0" y="1606613"/>
                  </a:lnTo>
                  <a:lnTo>
                    <a:pt x="76200" y="1644713"/>
                  </a:lnTo>
                  <a:lnTo>
                    <a:pt x="76200" y="1612963"/>
                  </a:lnTo>
                  <a:lnTo>
                    <a:pt x="1676260" y="1612963"/>
                  </a:lnTo>
                  <a:lnTo>
                    <a:pt x="1676260" y="2740977"/>
                  </a:lnTo>
                  <a:lnTo>
                    <a:pt x="3365220" y="2740977"/>
                  </a:lnTo>
                  <a:lnTo>
                    <a:pt x="3365220" y="2734627"/>
                  </a:lnTo>
                  <a:lnTo>
                    <a:pt x="3365220" y="2728277"/>
                  </a:lnTo>
                  <a:close/>
                </a:path>
                <a:path w="3392170" h="2741295">
                  <a:moveTo>
                    <a:pt x="3365220" y="2499499"/>
                  </a:moveTo>
                  <a:lnTo>
                    <a:pt x="3352520" y="2493149"/>
                  </a:lnTo>
                  <a:lnTo>
                    <a:pt x="3289020" y="2461399"/>
                  </a:lnTo>
                  <a:lnTo>
                    <a:pt x="3289020" y="2493149"/>
                  </a:lnTo>
                  <a:lnTo>
                    <a:pt x="1924088" y="2493149"/>
                  </a:lnTo>
                  <a:lnTo>
                    <a:pt x="1924088" y="1377835"/>
                  </a:lnTo>
                  <a:lnTo>
                    <a:pt x="1924088" y="1371485"/>
                  </a:lnTo>
                  <a:lnTo>
                    <a:pt x="1924088" y="1365135"/>
                  </a:lnTo>
                  <a:lnTo>
                    <a:pt x="0" y="1365135"/>
                  </a:lnTo>
                  <a:lnTo>
                    <a:pt x="0" y="1377835"/>
                  </a:lnTo>
                  <a:lnTo>
                    <a:pt x="1911388" y="1377835"/>
                  </a:lnTo>
                  <a:lnTo>
                    <a:pt x="1911388" y="2505849"/>
                  </a:lnTo>
                  <a:lnTo>
                    <a:pt x="3289020" y="2505849"/>
                  </a:lnTo>
                  <a:lnTo>
                    <a:pt x="3289020" y="2537599"/>
                  </a:lnTo>
                  <a:lnTo>
                    <a:pt x="3352520" y="2505849"/>
                  </a:lnTo>
                  <a:lnTo>
                    <a:pt x="3365220" y="2499499"/>
                  </a:lnTo>
                  <a:close/>
                </a:path>
                <a:path w="3392170" h="2741295">
                  <a:moveTo>
                    <a:pt x="3391624" y="38100"/>
                  </a:moveTo>
                  <a:lnTo>
                    <a:pt x="3378924" y="31750"/>
                  </a:lnTo>
                  <a:lnTo>
                    <a:pt x="3315424" y="0"/>
                  </a:lnTo>
                  <a:lnTo>
                    <a:pt x="3315424" y="31750"/>
                  </a:lnTo>
                  <a:lnTo>
                    <a:pt x="1898446" y="31750"/>
                  </a:lnTo>
                  <a:lnTo>
                    <a:pt x="1898446" y="1177417"/>
                  </a:lnTo>
                  <a:lnTo>
                    <a:pt x="0" y="1177417"/>
                  </a:lnTo>
                  <a:lnTo>
                    <a:pt x="0" y="1190117"/>
                  </a:lnTo>
                  <a:lnTo>
                    <a:pt x="1911146" y="1190117"/>
                  </a:lnTo>
                  <a:lnTo>
                    <a:pt x="1911146" y="1183767"/>
                  </a:lnTo>
                  <a:lnTo>
                    <a:pt x="1911146" y="1177417"/>
                  </a:lnTo>
                  <a:lnTo>
                    <a:pt x="1911146" y="44450"/>
                  </a:lnTo>
                  <a:lnTo>
                    <a:pt x="3315424" y="44450"/>
                  </a:lnTo>
                  <a:lnTo>
                    <a:pt x="3315424" y="76200"/>
                  </a:lnTo>
                  <a:lnTo>
                    <a:pt x="3378924" y="44450"/>
                  </a:lnTo>
                  <a:lnTo>
                    <a:pt x="3391624" y="38100"/>
                  </a:lnTo>
                  <a:close/>
                </a:path>
              </a:pathLst>
            </a:custGeom>
            <a:solidFill>
              <a:srgbClr val="6D6E7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4876232" y="3765295"/>
            <a:ext cx="741045" cy="3028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0320" marR="5080" indent="-8255">
              <a:lnSpc>
                <a:spcPct val="102200"/>
              </a:lnSpc>
              <a:spcBef>
                <a:spcPts val="75"/>
              </a:spcBef>
            </a:pP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К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в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тан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ц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ия 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н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а 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уведомление</a:t>
            </a:r>
            <a:endParaRPr sz="900">
              <a:latin typeface="Segoe UI"/>
              <a:cs typeface="Segoe U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9309498" y="5054600"/>
            <a:ext cx="741045" cy="3028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0320" marR="5080" indent="-8255">
              <a:lnSpc>
                <a:spcPct val="102200"/>
              </a:lnSpc>
              <a:spcBef>
                <a:spcPts val="75"/>
              </a:spcBef>
            </a:pP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К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в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тан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ц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ия 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н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а 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уведомление</a:t>
            </a:r>
            <a:endParaRPr sz="900">
              <a:latin typeface="Segoe UI"/>
              <a:cs typeface="Segoe U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0872986" y="3101340"/>
            <a:ext cx="42227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ФНС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9570642" y="2860040"/>
            <a:ext cx="21907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Ч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ек</a:t>
            </a:r>
            <a:endParaRPr sz="900">
              <a:latin typeface="Segoe UI"/>
              <a:cs typeface="Segoe UI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15999" y="359999"/>
            <a:ext cx="11160125" cy="720090"/>
          </a:xfrm>
          <a:custGeom>
            <a:avLst/>
            <a:gdLst/>
            <a:ahLst/>
            <a:cxnLst/>
            <a:rect l="l" t="t" r="r" b="b"/>
            <a:pathLst>
              <a:path w="11160125" h="720090">
                <a:moveTo>
                  <a:pt x="11040003" y="0"/>
                </a:moveTo>
                <a:lnTo>
                  <a:pt x="119996" y="0"/>
                </a:lnTo>
                <a:lnTo>
                  <a:pt x="73288" y="9430"/>
                </a:lnTo>
                <a:lnTo>
                  <a:pt x="35146" y="35146"/>
                </a:lnTo>
                <a:lnTo>
                  <a:pt x="9429" y="73288"/>
                </a:lnTo>
                <a:lnTo>
                  <a:pt x="0" y="119997"/>
                </a:lnTo>
                <a:lnTo>
                  <a:pt x="0" y="600001"/>
                </a:lnTo>
                <a:lnTo>
                  <a:pt x="9429" y="646710"/>
                </a:lnTo>
                <a:lnTo>
                  <a:pt x="35146" y="684853"/>
                </a:lnTo>
                <a:lnTo>
                  <a:pt x="73288" y="710569"/>
                </a:lnTo>
                <a:lnTo>
                  <a:pt x="119996" y="719999"/>
                </a:lnTo>
                <a:lnTo>
                  <a:pt x="11040003" y="719999"/>
                </a:lnTo>
                <a:lnTo>
                  <a:pt x="11086711" y="710569"/>
                </a:lnTo>
                <a:lnTo>
                  <a:pt x="11124853" y="684853"/>
                </a:lnTo>
                <a:lnTo>
                  <a:pt x="11150569" y="646710"/>
                </a:lnTo>
                <a:lnTo>
                  <a:pt x="11159999" y="600001"/>
                </a:lnTo>
                <a:lnTo>
                  <a:pt x="11159999" y="119997"/>
                </a:lnTo>
                <a:lnTo>
                  <a:pt x="11150569" y="73288"/>
                </a:lnTo>
                <a:lnTo>
                  <a:pt x="11124853" y="35146"/>
                </a:lnTo>
                <a:lnTo>
                  <a:pt x="11086711" y="9430"/>
                </a:lnTo>
                <a:lnTo>
                  <a:pt x="11040003" y="0"/>
                </a:lnTo>
                <a:close/>
              </a:path>
            </a:pathLst>
          </a:custGeom>
          <a:solidFill>
            <a:srgbClr val="F6F4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718448" y="527811"/>
            <a:ext cx="3060065" cy="3606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200" spc="-5" dirty="0"/>
              <a:t>Честный</a:t>
            </a:r>
            <a:r>
              <a:rPr sz="2200" spc="-50" dirty="0"/>
              <a:t> </a:t>
            </a:r>
            <a:r>
              <a:rPr sz="2200" spc="-5" dirty="0"/>
              <a:t>ЗНАК.Бизнес</a:t>
            </a:r>
            <a:endParaRPr sz="2200"/>
          </a:p>
        </p:txBody>
      </p:sp>
      <p:sp>
        <p:nvSpPr>
          <p:cNvPr id="4" name="object 4"/>
          <p:cNvSpPr/>
          <p:nvPr/>
        </p:nvSpPr>
        <p:spPr>
          <a:xfrm>
            <a:off x="439620" y="2564246"/>
            <a:ext cx="8647430" cy="2653030"/>
          </a:xfrm>
          <a:custGeom>
            <a:avLst/>
            <a:gdLst/>
            <a:ahLst/>
            <a:cxnLst/>
            <a:rect l="l" t="t" r="r" b="b"/>
            <a:pathLst>
              <a:path w="8647430" h="2653029">
                <a:moveTo>
                  <a:pt x="8533208" y="0"/>
                </a:moveTo>
                <a:lnTo>
                  <a:pt x="114019" y="0"/>
                </a:lnTo>
                <a:lnTo>
                  <a:pt x="69638" y="8960"/>
                </a:lnTo>
                <a:lnTo>
                  <a:pt x="33395" y="33395"/>
                </a:lnTo>
                <a:lnTo>
                  <a:pt x="8960" y="69638"/>
                </a:lnTo>
                <a:lnTo>
                  <a:pt x="0" y="114020"/>
                </a:lnTo>
                <a:lnTo>
                  <a:pt x="0" y="2538910"/>
                </a:lnTo>
                <a:lnTo>
                  <a:pt x="8960" y="2583292"/>
                </a:lnTo>
                <a:lnTo>
                  <a:pt x="33395" y="2619534"/>
                </a:lnTo>
                <a:lnTo>
                  <a:pt x="69638" y="2643969"/>
                </a:lnTo>
                <a:lnTo>
                  <a:pt x="114019" y="2652929"/>
                </a:lnTo>
                <a:lnTo>
                  <a:pt x="8533208" y="2652929"/>
                </a:lnTo>
                <a:lnTo>
                  <a:pt x="8577590" y="2643969"/>
                </a:lnTo>
                <a:lnTo>
                  <a:pt x="8613832" y="2619534"/>
                </a:lnTo>
                <a:lnTo>
                  <a:pt x="8638267" y="2583292"/>
                </a:lnTo>
                <a:lnTo>
                  <a:pt x="8647227" y="2538910"/>
                </a:lnTo>
                <a:lnTo>
                  <a:pt x="8647227" y="114020"/>
                </a:lnTo>
                <a:lnTo>
                  <a:pt x="8638267" y="69638"/>
                </a:lnTo>
                <a:lnTo>
                  <a:pt x="8613832" y="33395"/>
                </a:lnTo>
                <a:lnTo>
                  <a:pt x="8577590" y="8960"/>
                </a:lnTo>
                <a:lnTo>
                  <a:pt x="8533208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594740" y="1568196"/>
            <a:ext cx="4058285" cy="3433445"/>
          </a:xfrm>
          <a:prstGeom prst="rect">
            <a:avLst/>
          </a:prstGeom>
        </p:spPr>
        <p:txBody>
          <a:bodyPr vert="horz" wrap="square" lIns="0" tIns="36194" rIns="0" bIns="0" rtlCol="0">
            <a:spAutoFit/>
          </a:bodyPr>
          <a:lstStyle/>
          <a:p>
            <a:pPr marL="12700" marR="5080">
              <a:lnSpc>
                <a:spcPct val="89000"/>
              </a:lnSpc>
              <a:spcBef>
                <a:spcPts val="284"/>
              </a:spcBef>
            </a:pPr>
            <a:r>
              <a:rPr sz="1400" b="1" spc="-5" dirty="0">
                <a:solidFill>
                  <a:srgbClr val="63666A"/>
                </a:solidFill>
                <a:latin typeface="Segoe UI"/>
                <a:cs typeface="Segoe UI"/>
              </a:rPr>
              <a:t>Честный </a:t>
            </a:r>
            <a:r>
              <a:rPr sz="1400" b="1" dirty="0">
                <a:solidFill>
                  <a:srgbClr val="63666A"/>
                </a:solidFill>
                <a:latin typeface="Segoe UI"/>
                <a:cs typeface="Segoe UI"/>
              </a:rPr>
              <a:t>ЗНАК.Бизнес</a:t>
            </a:r>
            <a:r>
              <a:rPr sz="1400" b="1" spc="5" dirty="0">
                <a:solidFill>
                  <a:srgbClr val="63666A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63666A"/>
                </a:solidFill>
                <a:latin typeface="Segoe UI"/>
                <a:cs typeface="Segoe UI"/>
              </a:rPr>
              <a:t>– </a:t>
            </a:r>
            <a:r>
              <a:rPr sz="1400" spc="-5" dirty="0">
                <a:solidFill>
                  <a:srgbClr val="63666A"/>
                </a:solidFill>
                <a:latin typeface="Segoe UI"/>
                <a:cs typeface="Segoe UI"/>
              </a:rPr>
              <a:t>бесплатное</a:t>
            </a:r>
            <a:r>
              <a:rPr sz="1400" spc="5" dirty="0">
                <a:solidFill>
                  <a:srgbClr val="63666A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3666A"/>
                </a:solidFill>
                <a:latin typeface="Segoe UI"/>
                <a:cs typeface="Segoe UI"/>
              </a:rPr>
              <a:t>мобильное </a:t>
            </a:r>
            <a:r>
              <a:rPr sz="1400" spc="-370" dirty="0">
                <a:solidFill>
                  <a:srgbClr val="63666A"/>
                </a:solidFill>
                <a:latin typeface="Segoe UI"/>
                <a:cs typeface="Segoe UI"/>
              </a:rPr>
              <a:t> </a:t>
            </a:r>
            <a:r>
              <a:rPr sz="1400" spc="-10" dirty="0">
                <a:solidFill>
                  <a:srgbClr val="63666A"/>
                </a:solidFill>
                <a:latin typeface="Segoe UI"/>
                <a:cs typeface="Segoe UI"/>
              </a:rPr>
              <a:t>приложение</a:t>
            </a:r>
            <a:r>
              <a:rPr sz="1400" dirty="0">
                <a:solidFill>
                  <a:srgbClr val="63666A"/>
                </a:solidFill>
                <a:latin typeface="Segoe UI"/>
                <a:cs typeface="Segoe UI"/>
              </a:rPr>
              <a:t> для</a:t>
            </a:r>
            <a:r>
              <a:rPr sz="1400" spc="-5" dirty="0">
                <a:solidFill>
                  <a:srgbClr val="63666A"/>
                </a:solidFill>
                <a:latin typeface="Segoe UI"/>
                <a:cs typeface="Segoe UI"/>
              </a:rPr>
              <a:t> </a:t>
            </a:r>
            <a:r>
              <a:rPr sz="1400" spc="-10" dirty="0">
                <a:solidFill>
                  <a:srgbClr val="63666A"/>
                </a:solidFill>
                <a:latin typeface="Segoe UI"/>
                <a:cs typeface="Segoe UI"/>
              </a:rPr>
              <a:t>работы</a:t>
            </a:r>
            <a:r>
              <a:rPr sz="1400" spc="-5" dirty="0">
                <a:solidFill>
                  <a:srgbClr val="63666A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63666A"/>
                </a:solidFill>
                <a:latin typeface="Segoe UI"/>
                <a:cs typeface="Segoe UI"/>
              </a:rPr>
              <a:t>с</a:t>
            </a:r>
            <a:r>
              <a:rPr sz="1400" spc="5" dirty="0">
                <a:solidFill>
                  <a:srgbClr val="63666A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3666A"/>
                </a:solidFill>
                <a:latin typeface="Segoe UI"/>
                <a:cs typeface="Segoe UI"/>
              </a:rPr>
              <a:t>маркированными </a:t>
            </a:r>
            <a:r>
              <a:rPr sz="1400" dirty="0">
                <a:solidFill>
                  <a:srgbClr val="63666A"/>
                </a:solidFill>
                <a:latin typeface="Segoe UI"/>
                <a:cs typeface="Segoe UI"/>
              </a:rPr>
              <a:t> </a:t>
            </a:r>
            <a:r>
              <a:rPr sz="1400" spc="-10" dirty="0">
                <a:solidFill>
                  <a:srgbClr val="63666A"/>
                </a:solidFill>
                <a:latin typeface="Segoe UI"/>
                <a:cs typeface="Segoe UI"/>
              </a:rPr>
              <a:t>товарами</a:t>
            </a:r>
            <a:r>
              <a:rPr sz="1400" spc="-5" dirty="0">
                <a:solidFill>
                  <a:srgbClr val="63666A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63666A"/>
                </a:solidFill>
                <a:latin typeface="Segoe UI"/>
                <a:cs typeface="Segoe UI"/>
              </a:rPr>
              <a:t>через </a:t>
            </a:r>
            <a:r>
              <a:rPr sz="1400" spc="-5" dirty="0">
                <a:solidFill>
                  <a:srgbClr val="63666A"/>
                </a:solidFill>
                <a:latin typeface="Segoe UI"/>
                <a:cs typeface="Segoe UI"/>
              </a:rPr>
              <a:t>мобильные</a:t>
            </a:r>
            <a:r>
              <a:rPr sz="1400" spc="5" dirty="0">
                <a:solidFill>
                  <a:srgbClr val="63666A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3666A"/>
                </a:solidFill>
                <a:latin typeface="Segoe UI"/>
                <a:cs typeface="Segoe UI"/>
              </a:rPr>
              <a:t>устройства</a:t>
            </a:r>
            <a:r>
              <a:rPr sz="1400" dirty="0">
                <a:solidFill>
                  <a:srgbClr val="63666A"/>
                </a:solidFill>
                <a:latin typeface="Segoe UI"/>
                <a:cs typeface="Segoe UI"/>
              </a:rPr>
              <a:t> на </a:t>
            </a:r>
            <a:r>
              <a:rPr sz="1400" spc="5" dirty="0">
                <a:solidFill>
                  <a:srgbClr val="63666A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3666A"/>
                </a:solidFill>
                <a:latin typeface="Segoe UI"/>
                <a:cs typeface="Segoe UI"/>
              </a:rPr>
              <a:t>платформах iOS</a:t>
            </a:r>
            <a:r>
              <a:rPr sz="1400" spc="10" dirty="0">
                <a:solidFill>
                  <a:srgbClr val="63666A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63666A"/>
                </a:solidFill>
                <a:latin typeface="Segoe UI"/>
                <a:cs typeface="Segoe UI"/>
              </a:rPr>
              <a:t>и</a:t>
            </a:r>
            <a:r>
              <a:rPr sz="1400" spc="-5" dirty="0">
                <a:solidFill>
                  <a:srgbClr val="63666A"/>
                </a:solidFill>
                <a:latin typeface="Segoe UI"/>
                <a:cs typeface="Segoe UI"/>
              </a:rPr>
              <a:t> Android.</a:t>
            </a:r>
            <a:endParaRPr sz="1400">
              <a:latin typeface="Segoe UI"/>
              <a:cs typeface="Segoe UI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2450">
              <a:latin typeface="Segoe UI"/>
              <a:cs typeface="Segoe UI"/>
            </a:endParaRPr>
          </a:p>
          <a:p>
            <a:pPr marL="57785">
              <a:lnSpc>
                <a:spcPct val="100000"/>
              </a:lnSpc>
              <a:spcBef>
                <a:spcPts val="5"/>
              </a:spcBef>
            </a:pP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Универсальный</a:t>
            </a:r>
            <a:r>
              <a:rPr sz="1400" b="1" spc="-4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сканер</a:t>
            </a:r>
            <a:endParaRPr sz="1400">
              <a:latin typeface="Segoe UI"/>
              <a:cs typeface="Segoe UI"/>
            </a:endParaRPr>
          </a:p>
          <a:p>
            <a:pPr marL="273685" marR="331470" indent="-215900">
              <a:lnSpc>
                <a:spcPct val="101400"/>
              </a:lnSpc>
              <a:spcBef>
                <a:spcPts val="190"/>
              </a:spcBef>
              <a:buFont typeface="Arial MT"/>
              <a:buChar char="•"/>
              <a:tabLst>
                <a:tab pos="273685" algn="l"/>
                <a:tab pos="274320" algn="l"/>
              </a:tabLst>
            </a:pP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Информация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 о</a:t>
            </a:r>
            <a:r>
              <a:rPr sz="14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10" dirty="0">
                <a:solidFill>
                  <a:srgbClr val="6D6E71"/>
                </a:solidFill>
                <a:latin typeface="Segoe UI"/>
                <a:cs typeface="Segoe UI"/>
              </a:rPr>
              <a:t>товаре</a:t>
            </a:r>
            <a:r>
              <a:rPr sz="14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или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10" dirty="0">
                <a:solidFill>
                  <a:srgbClr val="6D6E71"/>
                </a:solidFill>
                <a:latin typeface="Segoe UI"/>
                <a:cs typeface="Segoe UI"/>
              </a:rPr>
              <a:t>агрегате,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 в </a:t>
            </a:r>
            <a:r>
              <a:rPr sz="1400" spc="-10" dirty="0">
                <a:solidFill>
                  <a:srgbClr val="6D6E71"/>
                </a:solidFill>
                <a:latin typeface="Segoe UI"/>
                <a:cs typeface="Segoe UI"/>
              </a:rPr>
              <a:t>том </a:t>
            </a:r>
            <a:r>
              <a:rPr sz="1400" spc="-37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числе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 о</a:t>
            </a:r>
            <a:r>
              <a:rPr sz="14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владельце;</a:t>
            </a:r>
            <a:endParaRPr sz="1400">
              <a:latin typeface="Segoe UI"/>
              <a:cs typeface="Segoe UI"/>
            </a:endParaRPr>
          </a:p>
          <a:p>
            <a:pPr marL="273685" indent="-216535">
              <a:lnSpc>
                <a:spcPct val="100000"/>
              </a:lnSpc>
              <a:spcBef>
                <a:spcPts val="310"/>
              </a:spcBef>
              <a:buFont typeface="Arial MT"/>
              <a:buChar char="•"/>
              <a:tabLst>
                <a:tab pos="273685" algn="l"/>
                <a:tab pos="274320" algn="l"/>
              </a:tabLst>
            </a:pP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Просмотр</a:t>
            </a:r>
            <a:r>
              <a:rPr sz="14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состава</a:t>
            </a:r>
            <a:r>
              <a:rPr sz="1400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агрегата;</a:t>
            </a:r>
            <a:endParaRPr sz="1400">
              <a:latin typeface="Segoe UI"/>
              <a:cs typeface="Segoe UI"/>
            </a:endParaRPr>
          </a:p>
          <a:p>
            <a:pPr marL="273685" marR="1423035" indent="-215900">
              <a:lnSpc>
                <a:spcPct val="101400"/>
              </a:lnSpc>
              <a:spcBef>
                <a:spcPts val="315"/>
              </a:spcBef>
              <a:buFont typeface="Arial MT"/>
              <a:buChar char="•"/>
              <a:tabLst>
                <a:tab pos="273685" algn="l"/>
                <a:tab pos="274320" algn="l"/>
              </a:tabLst>
            </a:pP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Расширенная информация 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о </a:t>
            </a:r>
            <a:r>
              <a:rPr sz="1400" spc="-37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сканируемом</a:t>
            </a:r>
            <a:r>
              <a:rPr sz="14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6D6E71"/>
                </a:solidFill>
                <a:latin typeface="Segoe UI"/>
                <a:cs typeface="Segoe UI"/>
              </a:rPr>
              <a:t>товаре.</a:t>
            </a:r>
            <a:endParaRPr sz="1400">
              <a:latin typeface="Segoe UI"/>
              <a:cs typeface="Segoe UI"/>
            </a:endParaRPr>
          </a:p>
          <a:p>
            <a:pPr marL="57785" marR="437515">
              <a:lnSpc>
                <a:spcPct val="190000"/>
              </a:lnSpc>
            </a:pP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Взаимодействие 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со </a:t>
            </a: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службой </a:t>
            </a:r>
            <a:r>
              <a:rPr sz="1400" b="1" spc="-10" dirty="0">
                <a:solidFill>
                  <a:srgbClr val="6D6E71"/>
                </a:solidFill>
                <a:latin typeface="Segoe UI"/>
                <a:cs typeface="Segoe UI"/>
              </a:rPr>
              <a:t>поддержки </a:t>
            </a:r>
            <a:r>
              <a:rPr sz="1400" b="1" spc="-37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Справочная</a:t>
            </a:r>
            <a:r>
              <a:rPr sz="1400" b="1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6D6E71"/>
                </a:solidFill>
                <a:latin typeface="Segoe UI"/>
                <a:cs typeface="Segoe UI"/>
              </a:rPr>
              <a:t>информация</a:t>
            </a:r>
            <a:endParaRPr sz="1400">
              <a:latin typeface="Segoe UI"/>
              <a:cs typeface="Segoe UI"/>
            </a:endParaRPr>
          </a:p>
        </p:txBody>
      </p:sp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313004" y="1806417"/>
            <a:ext cx="1263263" cy="1263263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378237" y="3169412"/>
            <a:ext cx="1079999" cy="360000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303226" y="4164372"/>
            <a:ext cx="1263263" cy="1263263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311636" y="5527367"/>
            <a:ext cx="1213200" cy="360000"/>
          </a:xfrm>
          <a:prstGeom prst="rect">
            <a:avLst/>
          </a:prstGeom>
        </p:spPr>
      </p:pic>
      <p:pic>
        <p:nvPicPr>
          <p:cNvPr id="10" name="object 10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5107797" y="839243"/>
            <a:ext cx="4557753" cy="586218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38" name="Picture 14">
            <a:extLst>
              <a:ext uri="{FF2B5EF4-FFF2-40B4-BE49-F238E27FC236}">
                <a16:creationId xmlns:a16="http://schemas.microsoft.com/office/drawing/2014/main" id="{8F203807-A5A4-41D4-A2F7-8664B8F8CA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3704" y="1541721"/>
            <a:ext cx="7564591" cy="4901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EF5F5186-8F68-44D2-AB05-9BACF15EF63B}"/>
              </a:ext>
            </a:extLst>
          </p:cNvPr>
          <p:cNvSpPr txBox="1"/>
          <p:nvPr/>
        </p:nvSpPr>
        <p:spPr>
          <a:xfrm>
            <a:off x="1205024" y="239112"/>
            <a:ext cx="978195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онная поддержка системы маркировки </a:t>
            </a:r>
            <a:r>
              <a:rPr lang="en-US" sz="2800" b="1" u="sng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ww.</a:t>
            </a:r>
            <a:r>
              <a:rPr lang="ru-RU" sz="2800" b="1" u="sng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endParaRPr lang="en-US" sz="2800" b="1" u="sng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2FB333E-A9EA-4935-B10A-A7362439DC15}"/>
              </a:ext>
            </a:extLst>
          </p:cNvPr>
          <p:cNvSpPr txBox="1"/>
          <p:nvPr/>
        </p:nvSpPr>
        <p:spPr>
          <a:xfrm>
            <a:off x="524333" y="2298442"/>
            <a:ext cx="205242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Инструкции и документация по работе в системе маркировки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0A383A6-B099-429A-8E09-0218730051A7}"/>
              </a:ext>
            </a:extLst>
          </p:cNvPr>
          <p:cNvSpPr txBox="1"/>
          <p:nvPr/>
        </p:nvSpPr>
        <p:spPr>
          <a:xfrm>
            <a:off x="9483710" y="2706966"/>
            <a:ext cx="20524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Калькулятор технических решений</a:t>
            </a:r>
          </a:p>
        </p:txBody>
      </p:sp>
      <p:pic>
        <p:nvPicPr>
          <p:cNvPr id="37" name="Picture 56">
            <a:extLst>
              <a:ext uri="{FF2B5EF4-FFF2-40B4-BE49-F238E27FC236}">
                <a16:creationId xmlns:a16="http://schemas.microsoft.com/office/drawing/2014/main" id="{1AEA8E0F-66F9-4CCA-A070-A76DD024B0B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07113" y="1755371"/>
            <a:ext cx="954107" cy="954107"/>
          </a:xfrm>
          <a:prstGeom prst="rect">
            <a:avLst/>
          </a:prstGeom>
        </p:spPr>
      </p:pic>
      <p:pic>
        <p:nvPicPr>
          <p:cNvPr id="39" name="Picture 29">
            <a:extLst>
              <a:ext uri="{FF2B5EF4-FFF2-40B4-BE49-F238E27FC236}">
                <a16:creationId xmlns:a16="http://schemas.microsoft.com/office/drawing/2014/main" id="{D4B998C4-4628-423E-8650-DB4D9324F6FA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082" y="1332158"/>
            <a:ext cx="953235" cy="953235"/>
          </a:xfrm>
          <a:prstGeom prst="rect">
            <a:avLst/>
          </a:prstGeom>
        </p:spPr>
      </p:pic>
      <p:pic>
        <p:nvPicPr>
          <p:cNvPr id="40" name="Picture 62">
            <a:extLst>
              <a:ext uri="{FF2B5EF4-FFF2-40B4-BE49-F238E27FC236}">
                <a16:creationId xmlns:a16="http://schemas.microsoft.com/office/drawing/2014/main" id="{49732226-C609-4E7F-AF09-53EAF3BBE5F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11216" y="1332157"/>
            <a:ext cx="953235" cy="953235"/>
          </a:xfrm>
          <a:prstGeom prst="rect">
            <a:avLst/>
          </a:prstGeom>
        </p:spPr>
      </p:pic>
      <p:pic>
        <p:nvPicPr>
          <p:cNvPr id="41" name="Picture 45">
            <a:extLst>
              <a:ext uri="{FF2B5EF4-FFF2-40B4-BE49-F238E27FC236}">
                <a16:creationId xmlns:a16="http://schemas.microsoft.com/office/drawing/2014/main" id="{92052346-373C-48E3-ABAA-1472DBD63E11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99937" y="1753731"/>
            <a:ext cx="954108" cy="954108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B8B1AF6-D183-41E3-B8A1-A607E3CCD466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-1" r="2446" b="3268"/>
          <a:stretch/>
        </p:blipFill>
        <p:spPr>
          <a:xfrm>
            <a:off x="3501051" y="1848010"/>
            <a:ext cx="5179399" cy="2925863"/>
          </a:xfrm>
          <a:prstGeom prst="rect">
            <a:avLst/>
          </a:prstGeom>
        </p:spPr>
      </p:pic>
      <p:cxnSp>
        <p:nvCxnSpPr>
          <p:cNvPr id="27" name="Соединитель: уступ 26">
            <a:extLst>
              <a:ext uri="{FF2B5EF4-FFF2-40B4-BE49-F238E27FC236}">
                <a16:creationId xmlns:a16="http://schemas.microsoft.com/office/drawing/2014/main" id="{2D6C6C0C-4783-4C1C-BBE3-5B751967D50E}"/>
              </a:ext>
            </a:extLst>
          </p:cNvPr>
          <p:cNvCxnSpPr>
            <a:cxnSpLocks/>
          </p:cNvCxnSpPr>
          <p:nvPr/>
        </p:nvCxnSpPr>
        <p:spPr>
          <a:xfrm flipV="1">
            <a:off x="6667500" y="3561907"/>
            <a:ext cx="3842422" cy="838632"/>
          </a:xfrm>
          <a:prstGeom prst="bentConnector3">
            <a:avLst>
              <a:gd name="adj1" fmla="val 100074"/>
            </a:avLst>
          </a:prstGeom>
          <a:ln>
            <a:prstDash val="dash"/>
            <a:headEnd type="oval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Соединитель: уступ 16">
            <a:extLst>
              <a:ext uri="{FF2B5EF4-FFF2-40B4-BE49-F238E27FC236}">
                <a16:creationId xmlns:a16="http://schemas.microsoft.com/office/drawing/2014/main" id="{D8134776-B39A-4368-9E48-DF37E885BA52}"/>
              </a:ext>
            </a:extLst>
          </p:cNvPr>
          <p:cNvCxnSpPr>
            <a:cxnSpLocks/>
          </p:cNvCxnSpPr>
          <p:nvPr/>
        </p:nvCxnSpPr>
        <p:spPr>
          <a:xfrm rot="10800000">
            <a:off x="1553917" y="3375660"/>
            <a:ext cx="2162203" cy="1158240"/>
          </a:xfrm>
          <a:prstGeom prst="bentConnector3">
            <a:avLst>
              <a:gd name="adj1" fmla="val 99926"/>
            </a:avLst>
          </a:prstGeom>
          <a:ln>
            <a:prstDash val="dash"/>
            <a:headEnd type="oval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5148596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>
            <a:extLst>
              <a:ext uri="{FF2B5EF4-FFF2-40B4-BE49-F238E27FC236}">
                <a16:creationId xmlns:a16="http://schemas.microsoft.com/office/drawing/2014/main" id="{6FB0A5B0-9B6A-AA41-AEB8-D92A624A9F96}"/>
              </a:ext>
            </a:extLst>
          </p:cNvPr>
          <p:cNvSpPr txBox="1"/>
          <p:nvPr/>
        </p:nvSpPr>
        <p:spPr>
          <a:xfrm>
            <a:off x="7071616" y="4851708"/>
            <a:ext cx="460001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улярные обучающие вебинары на сайте </a:t>
            </a:r>
          </a:p>
          <a:p>
            <a:r>
              <a:rPr lang="ru-RU" sz="1400" b="1" u="sng" dirty="0" err="1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endParaRPr lang="ru-RU" sz="1400" b="1" u="sng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b="1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здел мероприятия </a:t>
            </a:r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расписания вебинаров</a:t>
            </a:r>
          </a:p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иси мероприятий в разделе мероприятия </a:t>
            </a:r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идеоархив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BC16AD-5571-8247-9958-6DBEA1092F1A}"/>
              </a:ext>
            </a:extLst>
          </p:cNvPr>
          <p:cNvSpPr txBox="1"/>
          <p:nvPr/>
        </p:nvSpPr>
        <p:spPr>
          <a:xfrm>
            <a:off x="7071616" y="2118049"/>
            <a:ext cx="473052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е новости маркировки в режиме реального</a:t>
            </a:r>
          </a:p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ремени в канале телеграмм</a:t>
            </a:r>
          </a:p>
          <a:p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.me/crptbreaking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DF7CC8A-CA17-DF42-8C37-A594269EE51F}"/>
              </a:ext>
            </a:extLst>
          </p:cNvPr>
          <p:cNvSpPr txBox="1"/>
          <p:nvPr/>
        </p:nvSpPr>
        <p:spPr>
          <a:xfrm>
            <a:off x="7057478" y="3107575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идео-инструкции и опыт участников</a:t>
            </a:r>
          </a:p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канале </a:t>
            </a:r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YouTube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ЧестныйЗНАК</a:t>
            </a:r>
            <a:endParaRPr lang="ru-RU" sz="1100" b="1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291CFBB-3D1A-E942-B4F2-1E8028C3B148}"/>
              </a:ext>
            </a:extLst>
          </p:cNvPr>
          <p:cNvSpPr txBox="1"/>
          <p:nvPr/>
        </p:nvSpPr>
        <p:spPr>
          <a:xfrm>
            <a:off x="1629445" y="3107575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 позвоните по телефону</a:t>
            </a:r>
          </a:p>
          <a:p>
            <a:r>
              <a:rPr lang="fi-FI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 (800) 222-15-23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C66992E-4DFD-C042-A069-209911403CB5}"/>
              </a:ext>
            </a:extLst>
          </p:cNvPr>
          <p:cNvSpPr txBox="1"/>
          <p:nvPr/>
        </p:nvSpPr>
        <p:spPr>
          <a:xfrm>
            <a:off x="1629445" y="2225771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 можете написать нам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почте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1" u="sng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pport@crpt.ru</a:t>
            </a:r>
            <a:endParaRPr lang="ru-RU" sz="1400" b="1" u="sng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D046A59-47DF-BD49-9B21-7FAA3B39E432}"/>
              </a:ext>
            </a:extLst>
          </p:cNvPr>
          <p:cNvSpPr txBox="1"/>
          <p:nvPr/>
        </p:nvSpPr>
        <p:spPr>
          <a:xfrm>
            <a:off x="1637160" y="5785383"/>
            <a:ext cx="460001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vk.com/crptec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endParaRPr lang="ru-RU" sz="1100" b="1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97255E8-CA71-B441-9754-546063E74BEF}"/>
              </a:ext>
            </a:extLst>
          </p:cNvPr>
          <p:cNvSpPr txBox="1"/>
          <p:nvPr/>
        </p:nvSpPr>
        <p:spPr>
          <a:xfrm>
            <a:off x="579227" y="4078296"/>
            <a:ext cx="4668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 можете узнать самые горячие новости</a:t>
            </a: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задать вопросы в наших </a:t>
            </a:r>
            <a:r>
              <a:rPr lang="ru-RU" sz="1400" b="1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ц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альных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етях</a:t>
            </a:r>
            <a:endParaRPr lang="ru-RU" sz="11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73D5C47-40BE-A843-A255-D34C83C913A8}"/>
              </a:ext>
            </a:extLst>
          </p:cNvPr>
          <p:cNvSpPr txBox="1"/>
          <p:nvPr/>
        </p:nvSpPr>
        <p:spPr>
          <a:xfrm>
            <a:off x="1637160" y="4942227"/>
            <a:ext cx="4600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facebook.com/crpt.ru/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fi-FI" sz="1400" b="1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Скругленный прямоугольник 58">
            <a:extLst>
              <a:ext uri="{FF2B5EF4-FFF2-40B4-BE49-F238E27FC236}">
                <a16:creationId xmlns:a16="http://schemas.microsoft.com/office/drawing/2014/main" id="{CD298B0D-DD0D-B240-96AB-1EBF85CB4E3C}"/>
              </a:ext>
            </a:extLst>
          </p:cNvPr>
          <p:cNvSpPr/>
          <p:nvPr/>
        </p:nvSpPr>
        <p:spPr>
          <a:xfrm>
            <a:off x="675039" y="430171"/>
            <a:ext cx="9171605" cy="1152499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ы на связи всегда: прямая связь с экспертами, ответы на вопросы онлайн</a:t>
            </a:r>
          </a:p>
        </p:txBody>
      </p:sp>
      <p:pic>
        <p:nvPicPr>
          <p:cNvPr id="52" name="Picture 44">
            <a:extLst>
              <a:ext uri="{FF2B5EF4-FFF2-40B4-BE49-F238E27FC236}">
                <a16:creationId xmlns:a16="http://schemas.microsoft.com/office/drawing/2014/main" id="{6D554563-0837-894E-AA72-4D69BFCF1E1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86" y="3018659"/>
            <a:ext cx="720000" cy="701053"/>
          </a:xfrm>
          <a:prstGeom prst="rect">
            <a:avLst/>
          </a:prstGeom>
        </p:spPr>
      </p:pic>
      <p:pic>
        <p:nvPicPr>
          <p:cNvPr id="53" name="Picture 45">
            <a:extLst>
              <a:ext uri="{FF2B5EF4-FFF2-40B4-BE49-F238E27FC236}">
                <a16:creationId xmlns:a16="http://schemas.microsoft.com/office/drawing/2014/main" id="{81D42D2A-FA0A-214A-B01F-8C682B8BDB9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86" y="2136855"/>
            <a:ext cx="720000" cy="701053"/>
          </a:xfrm>
          <a:prstGeom prst="rect">
            <a:avLst/>
          </a:prstGeom>
        </p:spPr>
      </p:pic>
      <p:pic>
        <p:nvPicPr>
          <p:cNvPr id="54" name="Picture 46">
            <a:extLst>
              <a:ext uri="{FF2B5EF4-FFF2-40B4-BE49-F238E27FC236}">
                <a16:creationId xmlns:a16="http://schemas.microsoft.com/office/drawing/2014/main" id="{38CBD917-188D-BD42-A78D-15219CD5B5B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4876" y="3018658"/>
            <a:ext cx="720000" cy="701053"/>
          </a:xfrm>
          <a:prstGeom prst="rect">
            <a:avLst/>
          </a:prstGeom>
        </p:spPr>
      </p:pic>
      <p:pic>
        <p:nvPicPr>
          <p:cNvPr id="55" name="Picture 47">
            <a:extLst>
              <a:ext uri="{FF2B5EF4-FFF2-40B4-BE49-F238E27FC236}">
                <a16:creationId xmlns:a16="http://schemas.microsoft.com/office/drawing/2014/main" id="{B058E385-77F6-4A47-838B-D14BD49BF86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4876" y="2136855"/>
            <a:ext cx="720000" cy="701053"/>
          </a:xfrm>
          <a:prstGeom prst="rect">
            <a:avLst/>
          </a:prstGeom>
        </p:spPr>
      </p:pic>
      <p:pic>
        <p:nvPicPr>
          <p:cNvPr id="56" name="Picture 48">
            <a:extLst>
              <a:ext uri="{FF2B5EF4-FFF2-40B4-BE49-F238E27FC236}">
                <a16:creationId xmlns:a16="http://schemas.microsoft.com/office/drawing/2014/main" id="{4B22654D-FFEA-7048-8A1F-063D44C70F5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039" y="4757721"/>
            <a:ext cx="720000" cy="701053"/>
          </a:xfrm>
          <a:prstGeom prst="rect">
            <a:avLst/>
          </a:prstGeom>
        </p:spPr>
      </p:pic>
      <p:pic>
        <p:nvPicPr>
          <p:cNvPr id="73" name="Picture 49">
            <a:extLst>
              <a:ext uri="{FF2B5EF4-FFF2-40B4-BE49-F238E27FC236}">
                <a16:creationId xmlns:a16="http://schemas.microsoft.com/office/drawing/2014/main" id="{A2E6CF71-401F-9146-9572-E2D52103ECD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86" y="5614979"/>
            <a:ext cx="720000" cy="701053"/>
          </a:xfrm>
          <a:prstGeom prst="rect">
            <a:avLst/>
          </a:prstGeom>
        </p:spPr>
      </p:pic>
      <p:pic>
        <p:nvPicPr>
          <p:cNvPr id="78" name="Рисунок 77">
            <a:extLst>
              <a:ext uri="{FF2B5EF4-FFF2-40B4-BE49-F238E27FC236}">
                <a16:creationId xmlns:a16="http://schemas.microsoft.com/office/drawing/2014/main" id="{F1FA1761-F113-D64A-BCCD-21357CCA2AA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15034" y="4774706"/>
            <a:ext cx="778374" cy="1563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65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592274" y="0"/>
              <a:ext cx="8599723" cy="6857998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6096000" cy="6858000"/>
            </a:xfrm>
            <a:custGeom>
              <a:avLst/>
              <a:gdLst/>
              <a:ahLst/>
              <a:cxnLst/>
              <a:rect l="l" t="t" r="r" b="b"/>
              <a:pathLst>
                <a:path w="6096000" h="6858000">
                  <a:moveTo>
                    <a:pt x="6096000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6096000" y="6858000"/>
                  </a:lnTo>
                  <a:lnTo>
                    <a:pt x="6096000" y="0"/>
                  </a:lnTo>
                  <a:close/>
                </a:path>
              </a:pathLst>
            </a:custGeom>
            <a:solidFill>
              <a:srgbClr val="6D6E7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813416" y="1240028"/>
            <a:ext cx="2406650" cy="7600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0" dirty="0">
                <a:solidFill>
                  <a:srgbClr val="FFFFFF"/>
                </a:solidFill>
              </a:rPr>
              <a:t>СПАСИБО</a:t>
            </a:r>
          </a:p>
          <a:p>
            <a:pPr marL="12700">
              <a:lnSpc>
                <a:spcPct val="100000"/>
              </a:lnSpc>
              <a:spcBef>
                <a:spcPts val="20"/>
              </a:spcBef>
            </a:pPr>
            <a:r>
              <a:rPr spc="-5" dirty="0">
                <a:solidFill>
                  <a:srgbClr val="FFFFFF"/>
                </a:solidFill>
              </a:rPr>
              <a:t>ЗА</a:t>
            </a:r>
            <a:r>
              <a:rPr spc="-65" dirty="0">
                <a:solidFill>
                  <a:srgbClr val="FFFFFF"/>
                </a:solidFill>
              </a:rPr>
              <a:t> </a:t>
            </a:r>
            <a:r>
              <a:rPr spc="-5" dirty="0">
                <a:solidFill>
                  <a:srgbClr val="FFFFFF"/>
                </a:solidFill>
              </a:rPr>
              <a:t>ВНИМАНИЕ!</a:t>
            </a:r>
          </a:p>
        </p:txBody>
      </p:sp>
      <p:grpSp>
        <p:nvGrpSpPr>
          <p:cNvPr id="6" name="object 6"/>
          <p:cNvGrpSpPr/>
          <p:nvPr/>
        </p:nvGrpSpPr>
        <p:grpSpPr>
          <a:xfrm>
            <a:off x="824967" y="2053534"/>
            <a:ext cx="3921125" cy="3695700"/>
            <a:chOff x="824967" y="2053534"/>
            <a:chExt cx="3921125" cy="3695700"/>
          </a:xfrm>
        </p:grpSpPr>
        <p:sp>
          <p:nvSpPr>
            <p:cNvPr id="7" name="object 7"/>
            <p:cNvSpPr/>
            <p:nvPr/>
          </p:nvSpPr>
          <p:spPr>
            <a:xfrm>
              <a:off x="836566" y="2074171"/>
              <a:ext cx="2367280" cy="0"/>
            </a:xfrm>
            <a:custGeom>
              <a:avLst/>
              <a:gdLst/>
              <a:ahLst/>
              <a:cxnLst/>
              <a:rect l="l" t="t" r="r" b="b"/>
              <a:pathLst>
                <a:path w="2367280">
                  <a:moveTo>
                    <a:pt x="2366655" y="0"/>
                  </a:moveTo>
                  <a:lnTo>
                    <a:pt x="0" y="1"/>
                  </a:lnTo>
                </a:path>
              </a:pathLst>
            </a:custGeom>
            <a:ln w="41275">
              <a:solidFill>
                <a:srgbClr val="EAEA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" name="object 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24967" y="5015463"/>
              <a:ext cx="3920995" cy="733562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0" name="Object 18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30" y="10497"/>
          <a:ext cx="1583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90" name="Object 18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30" y="10497"/>
                        <a:ext cx="1583" cy="158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B7B86A0-244A-41A8-BA89-B12B5E6628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0A6ADBA9-A16C-394F-8850-91ECB2149BBB}"/>
              </a:ext>
            </a:extLst>
          </p:cNvPr>
          <p:cNvGrpSpPr/>
          <p:nvPr/>
        </p:nvGrpSpPr>
        <p:grpSpPr>
          <a:xfrm>
            <a:off x="526343" y="2670471"/>
            <a:ext cx="1088149" cy="1080000"/>
            <a:chOff x="2854235" y="2820464"/>
            <a:chExt cx="1088149" cy="1080000"/>
          </a:xfrm>
        </p:grpSpPr>
        <p:sp>
          <p:nvSpPr>
            <p:cNvPr id="49" name="Скругленный прямоугольник 48">
              <a:extLst>
                <a:ext uri="{FF2B5EF4-FFF2-40B4-BE49-F238E27FC236}">
                  <a16:creationId xmlns:a16="http://schemas.microsoft.com/office/drawing/2014/main" id="{9A9272CF-D9E3-8B42-9203-51AE371777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54235" y="2820464"/>
              <a:ext cx="1088149" cy="1080000"/>
            </a:xfrm>
            <a:prstGeom prst="roundRect">
              <a:avLst/>
            </a:prstGeom>
            <a:solidFill>
              <a:schemeClr val="bg1"/>
            </a:solidFill>
            <a:ln w="508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pic>
          <p:nvPicPr>
            <p:cNvPr id="50" name="Рисунок 49">
              <a:extLst>
                <a:ext uri="{FF2B5EF4-FFF2-40B4-BE49-F238E27FC236}">
                  <a16:creationId xmlns:a16="http://schemas.microsoft.com/office/drawing/2014/main" id="{F635BA9B-9A61-5940-BA5E-54343D6F9C8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3015913" y="3000464"/>
              <a:ext cx="720000" cy="720000"/>
            </a:xfrm>
            <a:prstGeom prst="rect">
              <a:avLst/>
            </a:prstGeom>
          </p:spPr>
        </p:pic>
      </p:grpSp>
      <p:sp>
        <p:nvSpPr>
          <p:cNvPr id="51" name="Rectangle 24">
            <a:extLst>
              <a:ext uri="{FF2B5EF4-FFF2-40B4-BE49-F238E27FC236}">
                <a16:creationId xmlns:a16="http://schemas.microsoft.com/office/drawing/2014/main" id="{18B397B8-1486-FA48-B36A-07553D8C1498}"/>
              </a:ext>
            </a:extLst>
          </p:cNvPr>
          <p:cNvSpPr/>
          <p:nvPr/>
        </p:nvSpPr>
        <p:spPr>
          <a:xfrm>
            <a:off x="1849807" y="2988615"/>
            <a:ext cx="3606335" cy="44371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 № 1956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31 декабря 2019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E068D844-0EBF-A742-86ED-FED1A579287F}"/>
              </a:ext>
            </a:extLst>
          </p:cNvPr>
          <p:cNvGrpSpPr/>
          <p:nvPr/>
        </p:nvGrpSpPr>
        <p:grpSpPr>
          <a:xfrm>
            <a:off x="519159" y="1362864"/>
            <a:ext cx="1088149" cy="1080000"/>
            <a:chOff x="703192" y="2554897"/>
            <a:chExt cx="1088149" cy="1080000"/>
          </a:xfrm>
        </p:grpSpPr>
        <p:sp>
          <p:nvSpPr>
            <p:cNvPr id="53" name="Скругленный прямоугольник 52">
              <a:extLst>
                <a:ext uri="{FF2B5EF4-FFF2-40B4-BE49-F238E27FC236}">
                  <a16:creationId xmlns:a16="http://schemas.microsoft.com/office/drawing/2014/main" id="{7A3EECC4-D28C-9B4E-9BB1-26497ED883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3192" y="2554897"/>
              <a:ext cx="1088149" cy="1080000"/>
            </a:xfrm>
            <a:prstGeom prst="roundRect">
              <a:avLst/>
            </a:prstGeom>
            <a:solidFill>
              <a:schemeClr val="bg1"/>
            </a:solidFill>
            <a:ln w="508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pic>
          <p:nvPicPr>
            <p:cNvPr id="54" name="Рисунок 53">
              <a:extLst>
                <a:ext uri="{FF2B5EF4-FFF2-40B4-BE49-F238E27FC236}">
                  <a16:creationId xmlns:a16="http://schemas.microsoft.com/office/drawing/2014/main" id="{5CB47674-FF58-3C46-A992-1C9F8FD9D0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>
              <a:off x="887266" y="2734897"/>
              <a:ext cx="720000" cy="720000"/>
            </a:xfrm>
            <a:prstGeom prst="rect">
              <a:avLst/>
            </a:prstGeom>
          </p:spPr>
        </p:pic>
      </p:grpSp>
      <p:sp>
        <p:nvSpPr>
          <p:cNvPr id="55" name="Rectangle 24">
            <a:extLst>
              <a:ext uri="{FF2B5EF4-FFF2-40B4-BE49-F238E27FC236}">
                <a16:creationId xmlns:a16="http://schemas.microsoft.com/office/drawing/2014/main" id="{4D812F27-E65A-5E4E-837B-297623F98CE0}"/>
              </a:ext>
            </a:extLst>
          </p:cNvPr>
          <p:cNvSpPr/>
          <p:nvPr/>
        </p:nvSpPr>
        <p:spPr>
          <a:xfrm>
            <a:off x="1849807" y="1704240"/>
            <a:ext cx="3416300" cy="44371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 № 224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28 февраля 2019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1472C7C9-191D-9141-AEAF-AF94A71BA417}"/>
              </a:ext>
            </a:extLst>
          </p:cNvPr>
          <p:cNvGrpSpPr>
            <a:grpSpLocks noChangeAspect="1"/>
          </p:cNvGrpSpPr>
          <p:nvPr/>
        </p:nvGrpSpPr>
        <p:grpSpPr>
          <a:xfrm>
            <a:off x="529106" y="3978078"/>
            <a:ext cx="1088149" cy="1080000"/>
            <a:chOff x="6363951" y="5124357"/>
            <a:chExt cx="725433" cy="720000"/>
          </a:xfrm>
          <a:effectLst/>
        </p:grpSpPr>
        <p:sp>
          <p:nvSpPr>
            <p:cNvPr id="57" name="Скругленный прямоугольник 56">
              <a:extLst>
                <a:ext uri="{FF2B5EF4-FFF2-40B4-BE49-F238E27FC236}">
                  <a16:creationId xmlns:a16="http://schemas.microsoft.com/office/drawing/2014/main" id="{B2D87C9D-DA50-DC4A-B2DB-187D3167D98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 w="508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pic>
          <p:nvPicPr>
            <p:cNvPr id="58" name="Рисунок 57">
              <a:extLst>
                <a:ext uri="{FF2B5EF4-FFF2-40B4-BE49-F238E27FC236}">
                  <a16:creationId xmlns:a16="http://schemas.microsoft.com/office/drawing/2014/main" id="{0AAB145C-E29B-6642-BD08-596EA491A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>
              <a:off x="6484825" y="5244357"/>
              <a:ext cx="480000" cy="480000"/>
            </a:xfrm>
            <a:prstGeom prst="rect">
              <a:avLst/>
            </a:prstGeom>
            <a:ln>
              <a:noFill/>
            </a:ln>
            <a:effectLst/>
          </p:spPr>
        </p:pic>
      </p:grpSp>
      <p:sp>
        <p:nvSpPr>
          <p:cNvPr id="59" name="Rectangle 24">
            <a:extLst>
              <a:ext uri="{FF2B5EF4-FFF2-40B4-BE49-F238E27FC236}">
                <a16:creationId xmlns:a16="http://schemas.microsoft.com/office/drawing/2014/main" id="{260D8A0B-B7F4-044E-8E6A-D198ACF63D49}"/>
              </a:ext>
            </a:extLst>
          </p:cNvPr>
          <p:cNvSpPr/>
          <p:nvPr/>
        </p:nvSpPr>
        <p:spPr>
          <a:xfrm>
            <a:off x="1833723" y="4149663"/>
            <a:ext cx="3416300" cy="67197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равительства № 1953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31 декабря 2019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06077624-72E5-C24B-A6C6-7C28312509BF}"/>
              </a:ext>
            </a:extLst>
          </p:cNvPr>
          <p:cNvGrpSpPr/>
          <p:nvPr/>
        </p:nvGrpSpPr>
        <p:grpSpPr>
          <a:xfrm>
            <a:off x="6010275" y="2366973"/>
            <a:ext cx="1008939" cy="966125"/>
            <a:chOff x="8200051" y="2820464"/>
            <a:chExt cx="1088149" cy="1080000"/>
          </a:xfrm>
        </p:grpSpPr>
        <p:sp>
          <p:nvSpPr>
            <p:cNvPr id="61" name="Скругленный прямоугольник 60">
              <a:extLst>
                <a:ext uri="{FF2B5EF4-FFF2-40B4-BE49-F238E27FC236}">
                  <a16:creationId xmlns:a16="http://schemas.microsoft.com/office/drawing/2014/main" id="{4753548A-3365-784B-A340-1C004457D2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00051" y="2820464"/>
              <a:ext cx="1088149" cy="1080000"/>
            </a:xfrm>
            <a:prstGeom prst="roundRect">
              <a:avLst/>
            </a:prstGeom>
            <a:solidFill>
              <a:schemeClr val="bg1"/>
            </a:solidFill>
            <a:ln w="508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pic>
          <p:nvPicPr>
            <p:cNvPr id="62" name="Рисунок 61">
              <a:extLst>
                <a:ext uri="{FF2B5EF4-FFF2-40B4-BE49-F238E27FC236}">
                  <a16:creationId xmlns:a16="http://schemas.microsoft.com/office/drawing/2014/main" id="{9938146D-621A-3D45-B232-A7DF8860F3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/>
            <a:stretch/>
          </p:blipFill>
          <p:spPr>
            <a:xfrm>
              <a:off x="8384124" y="2984135"/>
              <a:ext cx="720000" cy="720000"/>
            </a:xfrm>
            <a:prstGeom prst="rect">
              <a:avLst/>
            </a:prstGeom>
          </p:spPr>
        </p:pic>
      </p:grpSp>
      <p:sp>
        <p:nvSpPr>
          <p:cNvPr id="63" name="Rectangle 24">
            <a:extLst>
              <a:ext uri="{FF2B5EF4-FFF2-40B4-BE49-F238E27FC236}">
                <a16:creationId xmlns:a16="http://schemas.microsoft.com/office/drawing/2014/main" id="{BA522698-C187-8942-8658-33FDA462E827}"/>
              </a:ext>
            </a:extLst>
          </p:cNvPr>
          <p:cNvSpPr/>
          <p:nvPr/>
        </p:nvSpPr>
        <p:spPr>
          <a:xfrm>
            <a:off x="7346902" y="2641516"/>
            <a:ext cx="4072559" cy="44371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 № 1957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31 декабря 2019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4A9BE297-5634-1E4E-BC63-DE547B79ED8C}"/>
              </a:ext>
            </a:extLst>
          </p:cNvPr>
          <p:cNvGrpSpPr>
            <a:grpSpLocks noChangeAspect="1"/>
          </p:cNvGrpSpPr>
          <p:nvPr/>
        </p:nvGrpSpPr>
        <p:grpSpPr>
          <a:xfrm>
            <a:off x="5986713" y="1230439"/>
            <a:ext cx="1032501" cy="1024769"/>
            <a:chOff x="6363951" y="5124357"/>
            <a:chExt cx="725433" cy="720000"/>
          </a:xfrm>
        </p:grpSpPr>
        <p:sp>
          <p:nvSpPr>
            <p:cNvPr id="66" name="Скругленный прямоугольник 65">
              <a:extLst>
                <a:ext uri="{FF2B5EF4-FFF2-40B4-BE49-F238E27FC236}">
                  <a16:creationId xmlns:a16="http://schemas.microsoft.com/office/drawing/2014/main" id="{0CCDF259-4630-464A-9F39-D02A77EF0D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 w="508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pic>
          <p:nvPicPr>
            <p:cNvPr id="67" name="Рисунок 66">
              <a:extLst>
                <a:ext uri="{FF2B5EF4-FFF2-40B4-BE49-F238E27FC236}">
                  <a16:creationId xmlns:a16="http://schemas.microsoft.com/office/drawing/2014/main" id="{7EB95FEA-351B-CE43-B470-B6E0B0D8F0A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rcRect/>
            <a:stretch/>
          </p:blipFill>
          <p:spPr>
            <a:xfrm>
              <a:off x="6486667" y="5233723"/>
              <a:ext cx="480000" cy="480000"/>
            </a:xfrm>
            <a:prstGeom prst="rect">
              <a:avLst/>
            </a:prstGeom>
          </p:spPr>
        </p:pic>
      </p:grpSp>
      <p:sp>
        <p:nvSpPr>
          <p:cNvPr id="68" name="Rectangle 24">
            <a:extLst>
              <a:ext uri="{FF2B5EF4-FFF2-40B4-BE49-F238E27FC236}">
                <a16:creationId xmlns:a16="http://schemas.microsoft.com/office/drawing/2014/main" id="{EAC127DD-EFEB-3B4B-906B-A0D8E7F321BC}"/>
              </a:ext>
            </a:extLst>
          </p:cNvPr>
          <p:cNvSpPr/>
          <p:nvPr/>
        </p:nvSpPr>
        <p:spPr>
          <a:xfrm>
            <a:off x="7346902" y="1488165"/>
            <a:ext cx="3538704" cy="44371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 № 860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5 июля 2019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98DD1EFC-A792-914C-BB2E-46CF195B558E}"/>
              </a:ext>
            </a:extLst>
          </p:cNvPr>
          <p:cNvGrpSpPr>
            <a:grpSpLocks noChangeAspect="1"/>
          </p:cNvGrpSpPr>
          <p:nvPr/>
        </p:nvGrpSpPr>
        <p:grpSpPr>
          <a:xfrm>
            <a:off x="6010274" y="3467752"/>
            <a:ext cx="1008939" cy="1001383"/>
            <a:chOff x="6363951" y="5124357"/>
            <a:chExt cx="725433" cy="720000"/>
          </a:xfrm>
          <a:effectLst/>
        </p:grpSpPr>
        <p:sp>
          <p:nvSpPr>
            <p:cNvPr id="70" name="Скругленный прямоугольник 69">
              <a:extLst>
                <a:ext uri="{FF2B5EF4-FFF2-40B4-BE49-F238E27FC236}">
                  <a16:creationId xmlns:a16="http://schemas.microsoft.com/office/drawing/2014/main" id="{CD0C53D8-764D-0E47-A622-F3204C1220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 w="508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pic>
          <p:nvPicPr>
            <p:cNvPr id="72" name="Рисунок 71">
              <a:extLst>
                <a:ext uri="{FF2B5EF4-FFF2-40B4-BE49-F238E27FC236}">
                  <a16:creationId xmlns:a16="http://schemas.microsoft.com/office/drawing/2014/main" id="{92EF62DB-B21E-C94C-8E65-34A2250B80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rcRect/>
            <a:stretch/>
          </p:blipFill>
          <p:spPr>
            <a:xfrm>
              <a:off x="6486667" y="5247912"/>
              <a:ext cx="480000" cy="480000"/>
            </a:xfrm>
            <a:prstGeom prst="rect">
              <a:avLst/>
            </a:prstGeom>
          </p:spPr>
        </p:pic>
      </p:grpSp>
      <p:sp>
        <p:nvSpPr>
          <p:cNvPr id="73" name="Rectangle 24">
            <a:extLst>
              <a:ext uri="{FF2B5EF4-FFF2-40B4-BE49-F238E27FC236}">
                <a16:creationId xmlns:a16="http://schemas.microsoft.com/office/drawing/2014/main" id="{6DFEEC39-7303-9242-BA76-027F50546CCE}"/>
              </a:ext>
            </a:extLst>
          </p:cNvPr>
          <p:cNvSpPr/>
          <p:nvPr/>
        </p:nvSpPr>
        <p:spPr>
          <a:xfrm>
            <a:off x="7370463" y="3782628"/>
            <a:ext cx="3515143" cy="44371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 № 1958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31 декабря 2019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CDB3AAFC-468C-F04C-AC45-CD236D8E8DF2}"/>
              </a:ext>
            </a:extLst>
          </p:cNvPr>
          <p:cNvGrpSpPr>
            <a:grpSpLocks noChangeAspect="1"/>
          </p:cNvGrpSpPr>
          <p:nvPr/>
        </p:nvGrpSpPr>
        <p:grpSpPr>
          <a:xfrm>
            <a:off x="5986713" y="88499"/>
            <a:ext cx="1032501" cy="1024769"/>
            <a:chOff x="6363951" y="5124357"/>
            <a:chExt cx="725433" cy="720000"/>
          </a:xfrm>
        </p:grpSpPr>
        <p:sp>
          <p:nvSpPr>
            <p:cNvPr id="77" name="Скругленный прямоугольник 76">
              <a:extLst>
                <a:ext uri="{FF2B5EF4-FFF2-40B4-BE49-F238E27FC236}">
                  <a16:creationId xmlns:a16="http://schemas.microsoft.com/office/drawing/2014/main" id="{992E52A7-9985-9948-83E8-D31BC70F47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 w="508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pic>
          <p:nvPicPr>
            <p:cNvPr id="78" name="Рисунок 77">
              <a:extLst>
                <a:ext uri="{FF2B5EF4-FFF2-40B4-BE49-F238E27FC236}">
                  <a16:creationId xmlns:a16="http://schemas.microsoft.com/office/drawing/2014/main" id="{23C9DF26-18CB-4B42-9FF4-19066E0B11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486667" y="5233723"/>
              <a:ext cx="480000" cy="480000"/>
            </a:xfrm>
            <a:prstGeom prst="rect">
              <a:avLst/>
            </a:prstGeom>
          </p:spPr>
        </p:pic>
      </p:grpSp>
      <p:sp>
        <p:nvSpPr>
          <p:cNvPr id="79" name="Rectangle 24">
            <a:extLst>
              <a:ext uri="{FF2B5EF4-FFF2-40B4-BE49-F238E27FC236}">
                <a16:creationId xmlns:a16="http://schemas.microsoft.com/office/drawing/2014/main" id="{45432A2B-50C8-3840-93D7-6996534AED51}"/>
              </a:ext>
            </a:extLst>
          </p:cNvPr>
          <p:cNvSpPr/>
          <p:nvPr/>
        </p:nvSpPr>
        <p:spPr>
          <a:xfrm>
            <a:off x="7346901" y="346225"/>
            <a:ext cx="4486839" cy="8874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 № 1556 и № 1557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14 декабря 2018 года</a:t>
            </a:r>
          </a:p>
          <a:p>
            <a:pPr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Постановление </a:t>
            </a: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равительства </a:t>
            </a: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от 2 ноября 2020 года №1779</a:t>
            </a:r>
            <a:endParaRPr lang="ru-RU" sz="1400" b="0" spc="5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sp>
        <p:nvSpPr>
          <p:cNvPr id="82" name="Скругленный прямоугольник 81">
            <a:extLst>
              <a:ext uri="{FF2B5EF4-FFF2-40B4-BE49-F238E27FC236}">
                <a16:creationId xmlns:a16="http://schemas.microsoft.com/office/drawing/2014/main" id="{4E996DFF-9CA1-0045-94A7-A108D0FFE1B6}"/>
              </a:ext>
            </a:extLst>
          </p:cNvPr>
          <p:cNvSpPr/>
          <p:nvPr/>
        </p:nvSpPr>
        <p:spPr>
          <a:xfrm>
            <a:off x="65419" y="59589"/>
            <a:ext cx="3914000" cy="1268551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845DC81A-F02F-7843-83FB-853982F245AB}"/>
              </a:ext>
            </a:extLst>
          </p:cNvPr>
          <p:cNvSpPr txBox="1"/>
          <p:nvPr/>
        </p:nvSpPr>
        <p:spPr>
          <a:xfrm>
            <a:off x="272535" y="106751"/>
            <a:ext cx="460001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ор</a:t>
            </a:r>
            <a:r>
              <a:rPr lang="en-US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тивная </a:t>
            </a:r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аза (вступили в силу)</a:t>
            </a:r>
          </a:p>
        </p:txBody>
      </p:sp>
      <p:sp>
        <p:nvSpPr>
          <p:cNvPr id="35" name="Скругленный прямоугольник 69">
            <a:extLst>
              <a:ext uri="{FF2B5EF4-FFF2-40B4-BE49-F238E27FC236}">
                <a16:creationId xmlns:a16="http://schemas.microsoft.com/office/drawing/2014/main" id="{AD0EC27F-7145-4644-92B2-A57F31A99A46}"/>
              </a:ext>
            </a:extLst>
          </p:cNvPr>
          <p:cNvSpPr>
            <a:spLocks noChangeAspect="1"/>
          </p:cNvSpPr>
          <p:nvPr/>
        </p:nvSpPr>
        <p:spPr>
          <a:xfrm>
            <a:off x="6010274" y="4603740"/>
            <a:ext cx="1008939" cy="1001383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67E3EA40-3245-46AD-8E4D-FB91D7FEA55B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89482" y="4755074"/>
            <a:ext cx="755070" cy="755070"/>
          </a:xfrm>
          <a:prstGeom prst="rect">
            <a:avLst/>
          </a:prstGeom>
        </p:spPr>
      </p:pic>
      <p:sp>
        <p:nvSpPr>
          <p:cNvPr id="38" name="Rectangle 24">
            <a:extLst>
              <a:ext uri="{FF2B5EF4-FFF2-40B4-BE49-F238E27FC236}">
                <a16:creationId xmlns:a16="http://schemas.microsoft.com/office/drawing/2014/main" id="{93FD8272-C90F-4EE6-9CC0-AA00CBC335D5}"/>
              </a:ext>
            </a:extLst>
          </p:cNvPr>
          <p:cNvSpPr/>
          <p:nvPr/>
        </p:nvSpPr>
        <p:spPr>
          <a:xfrm>
            <a:off x="7370463" y="4924647"/>
            <a:ext cx="3515143" cy="44371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 № 2099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15 декабря 2020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sp>
        <p:nvSpPr>
          <p:cNvPr id="40" name="Скругленный прямоугольник 56">
            <a:extLst>
              <a:ext uri="{FF2B5EF4-FFF2-40B4-BE49-F238E27FC236}">
                <a16:creationId xmlns:a16="http://schemas.microsoft.com/office/drawing/2014/main" id="{A8BAF4A0-975E-46CC-88ED-9AA7C0023A1B}"/>
              </a:ext>
            </a:extLst>
          </p:cNvPr>
          <p:cNvSpPr>
            <a:spLocks noChangeAspect="1"/>
          </p:cNvSpPr>
          <p:nvPr/>
        </p:nvSpPr>
        <p:spPr>
          <a:xfrm>
            <a:off x="560477" y="5210478"/>
            <a:ext cx="1088149" cy="108000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42" name="Rectangle 24">
            <a:extLst>
              <a:ext uri="{FF2B5EF4-FFF2-40B4-BE49-F238E27FC236}">
                <a16:creationId xmlns:a16="http://schemas.microsoft.com/office/drawing/2014/main" id="{00493F5F-00DA-40DD-9716-73E3996C115D}"/>
              </a:ext>
            </a:extLst>
          </p:cNvPr>
          <p:cNvSpPr/>
          <p:nvPr/>
        </p:nvSpPr>
        <p:spPr>
          <a:xfrm>
            <a:off x="1920666" y="5222399"/>
            <a:ext cx="3416300" cy="67197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Распоряжение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равительства № 3322-р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15 декабря 2020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BE90D681-349A-4B0A-98BA-AD50A5C13AF1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4012" t="62266" r="91976" b="32558"/>
          <a:stretch/>
        </p:blipFill>
        <p:spPr>
          <a:xfrm>
            <a:off x="763421" y="5508437"/>
            <a:ext cx="666996" cy="484082"/>
          </a:xfrm>
          <a:prstGeom prst="rect">
            <a:avLst/>
          </a:prstGeom>
        </p:spPr>
      </p:pic>
      <p:sp>
        <p:nvSpPr>
          <p:cNvPr id="41" name="Скругленный прямоугольник 69">
            <a:extLst>
              <a:ext uri="{FF2B5EF4-FFF2-40B4-BE49-F238E27FC236}">
                <a16:creationId xmlns:a16="http://schemas.microsoft.com/office/drawing/2014/main" id="{42B907D1-3EF2-43DD-9877-87CE73676DD0}"/>
              </a:ext>
            </a:extLst>
          </p:cNvPr>
          <p:cNvSpPr>
            <a:spLocks noChangeAspect="1"/>
          </p:cNvSpPr>
          <p:nvPr/>
        </p:nvSpPr>
        <p:spPr>
          <a:xfrm>
            <a:off x="6010275" y="5729304"/>
            <a:ext cx="1054130" cy="1046236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45" name="Rectangle 24">
            <a:extLst>
              <a:ext uri="{FF2B5EF4-FFF2-40B4-BE49-F238E27FC236}">
                <a16:creationId xmlns:a16="http://schemas.microsoft.com/office/drawing/2014/main" id="{A8929D66-C64E-418D-83CB-E71DDD98045D}"/>
              </a:ext>
            </a:extLst>
          </p:cNvPr>
          <p:cNvSpPr/>
          <p:nvPr/>
        </p:nvSpPr>
        <p:spPr>
          <a:xfrm>
            <a:off x="7370463" y="6064072"/>
            <a:ext cx="3515143" cy="44371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 № 841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31 мая 2021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74D72516-26E1-497B-814D-536E6AACACE4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9" r="43160"/>
          <a:stretch/>
        </p:blipFill>
        <p:spPr>
          <a:xfrm>
            <a:off x="6202785" y="5855025"/>
            <a:ext cx="528464" cy="885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723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Прямоугольник 64"/>
          <p:cNvSpPr/>
          <p:nvPr/>
        </p:nvSpPr>
        <p:spPr>
          <a:xfrm>
            <a:off x="2545193" y="4027150"/>
            <a:ext cx="202680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595959"/>
                </a:solidFill>
                <a:latin typeface="PT Sans Caption" pitchFamily="34" charset="-52"/>
              </a:rPr>
              <a:t>1 апреля 2021 – </a:t>
            </a:r>
            <a:endParaRPr lang="en-US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b="1" dirty="0">
                <a:solidFill>
                  <a:srgbClr val="595959"/>
                </a:solidFill>
                <a:latin typeface="PT Sans Caption" pitchFamily="34" charset="-52"/>
              </a:rPr>
              <a:t>31 августа 2022</a:t>
            </a: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1024F1E9-C41D-DF45-A7E2-6458B7B934D8}"/>
              </a:ext>
            </a:extLst>
          </p:cNvPr>
          <p:cNvSpPr/>
          <p:nvPr/>
        </p:nvSpPr>
        <p:spPr>
          <a:xfrm>
            <a:off x="3164240" y="677313"/>
            <a:ext cx="4886766" cy="89280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505B385-91BB-E84A-ADB1-F964D39B7D7D}"/>
              </a:ext>
            </a:extLst>
          </p:cNvPr>
          <p:cNvSpPr txBox="1"/>
          <p:nvPr/>
        </p:nvSpPr>
        <p:spPr>
          <a:xfrm>
            <a:off x="3176940" y="862103"/>
            <a:ext cx="55333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екущие эксперименты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FC8169E1-89D7-498C-ABB7-8ED54F0147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5104" t="52700" r="14375" b="28518"/>
          <a:stretch/>
        </p:blipFill>
        <p:spPr>
          <a:xfrm>
            <a:off x="53235" y="2144749"/>
            <a:ext cx="12075266" cy="1808954"/>
          </a:xfrm>
          <a:prstGeom prst="rect">
            <a:avLst/>
          </a:pr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8236F14C-52FB-40BD-8EFC-F929ECCEE9FA}"/>
              </a:ext>
            </a:extLst>
          </p:cNvPr>
          <p:cNvSpPr/>
          <p:nvPr/>
        </p:nvSpPr>
        <p:spPr>
          <a:xfrm>
            <a:off x="182993" y="4002659"/>
            <a:ext cx="202680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595959"/>
                </a:solidFill>
                <a:latin typeface="PT Sans Caption" pitchFamily="34" charset="-52"/>
              </a:rPr>
              <a:t>1 мая 2021 – </a:t>
            </a:r>
            <a:endParaRPr lang="en-US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b="1" dirty="0">
                <a:solidFill>
                  <a:srgbClr val="595959"/>
                </a:solidFill>
                <a:latin typeface="PT Sans Caption" pitchFamily="34" charset="-52"/>
              </a:rPr>
              <a:t>31 августа 2022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5C7AE696-828A-4437-AF78-FF1294E6D4F7}"/>
              </a:ext>
            </a:extLst>
          </p:cNvPr>
          <p:cNvSpPr/>
          <p:nvPr/>
        </p:nvSpPr>
        <p:spPr>
          <a:xfrm>
            <a:off x="4907393" y="4027150"/>
            <a:ext cx="202680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595959"/>
                </a:solidFill>
                <a:latin typeface="PT Sans Caption" pitchFamily="34" charset="-52"/>
              </a:rPr>
              <a:t>1 августа 2021 – </a:t>
            </a:r>
            <a:endParaRPr lang="en-US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b="1" dirty="0">
                <a:solidFill>
                  <a:srgbClr val="595959"/>
                </a:solidFill>
                <a:latin typeface="PT Sans Caption" pitchFamily="34" charset="-52"/>
              </a:rPr>
              <a:t>31 августа 2022</a:t>
            </a:r>
          </a:p>
        </p:txBody>
      </p:sp>
    </p:spTree>
    <p:extLst>
      <p:ext uri="{BB962C8B-B14F-4D97-AF65-F5344CB8AC3E}">
        <p14:creationId xmlns:p14="http://schemas.microsoft.com/office/powerpoint/2010/main" val="3597538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15999" y="364671"/>
            <a:ext cx="11160125" cy="720090"/>
          </a:xfrm>
          <a:custGeom>
            <a:avLst/>
            <a:gdLst/>
            <a:ahLst/>
            <a:cxnLst/>
            <a:rect l="l" t="t" r="r" b="b"/>
            <a:pathLst>
              <a:path w="11160125" h="720090">
                <a:moveTo>
                  <a:pt x="11040003" y="0"/>
                </a:moveTo>
                <a:lnTo>
                  <a:pt x="119996" y="0"/>
                </a:lnTo>
                <a:lnTo>
                  <a:pt x="73288" y="9430"/>
                </a:lnTo>
                <a:lnTo>
                  <a:pt x="35146" y="35146"/>
                </a:lnTo>
                <a:lnTo>
                  <a:pt x="9429" y="73289"/>
                </a:lnTo>
                <a:lnTo>
                  <a:pt x="0" y="119998"/>
                </a:lnTo>
                <a:lnTo>
                  <a:pt x="0" y="600002"/>
                </a:lnTo>
                <a:lnTo>
                  <a:pt x="9429" y="646710"/>
                </a:lnTo>
                <a:lnTo>
                  <a:pt x="35146" y="684853"/>
                </a:lnTo>
                <a:lnTo>
                  <a:pt x="73288" y="710569"/>
                </a:lnTo>
                <a:lnTo>
                  <a:pt x="119996" y="719999"/>
                </a:lnTo>
                <a:lnTo>
                  <a:pt x="11040003" y="719999"/>
                </a:lnTo>
                <a:lnTo>
                  <a:pt x="11086711" y="710569"/>
                </a:lnTo>
                <a:lnTo>
                  <a:pt x="11124853" y="684853"/>
                </a:lnTo>
                <a:lnTo>
                  <a:pt x="11150569" y="646710"/>
                </a:lnTo>
                <a:lnTo>
                  <a:pt x="11159999" y="600002"/>
                </a:lnTo>
                <a:lnTo>
                  <a:pt x="11159999" y="119998"/>
                </a:lnTo>
                <a:lnTo>
                  <a:pt x="11150569" y="73289"/>
                </a:lnTo>
                <a:lnTo>
                  <a:pt x="11124853" y="35146"/>
                </a:lnTo>
                <a:lnTo>
                  <a:pt x="11086711" y="9430"/>
                </a:lnTo>
                <a:lnTo>
                  <a:pt x="11040003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718448" y="517651"/>
            <a:ext cx="823150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0" dirty="0"/>
              <a:t>Нарушения</a:t>
            </a:r>
            <a:r>
              <a:rPr spc="-15" dirty="0"/>
              <a:t> </a:t>
            </a:r>
            <a:r>
              <a:rPr spc="-10" dirty="0"/>
              <a:t>правил</a:t>
            </a:r>
            <a:r>
              <a:rPr spc="-5" dirty="0"/>
              <a:t> маркировки</a:t>
            </a:r>
            <a:r>
              <a:rPr spc="-20" dirty="0"/>
              <a:t> </a:t>
            </a:r>
            <a:r>
              <a:rPr spc="-5" dirty="0"/>
              <a:t>молочной</a:t>
            </a:r>
            <a:r>
              <a:rPr spc="-15" dirty="0"/>
              <a:t> </a:t>
            </a:r>
            <a:r>
              <a:rPr spc="-10" dirty="0"/>
              <a:t>продукции</a:t>
            </a: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11459" y="1323192"/>
            <a:ext cx="127000" cy="139700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883240" y="1259840"/>
            <a:ext cx="7226934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335">
              <a:lnSpc>
                <a:spcPct val="100000"/>
              </a:lnSpc>
              <a:spcBef>
                <a:spcPts val="100"/>
              </a:spcBef>
            </a:pP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Продажа немаркированных</a:t>
            </a:r>
            <a:r>
              <a:rPr sz="1500" b="1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товаров</a:t>
            </a:r>
            <a:r>
              <a:rPr sz="1500" b="1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произведенных</a:t>
            </a:r>
            <a:r>
              <a:rPr sz="1500" b="1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после</a:t>
            </a:r>
            <a:r>
              <a:rPr sz="1500" b="1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01 декабря</a:t>
            </a:r>
            <a:r>
              <a:rPr sz="1500" b="1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2021</a:t>
            </a:r>
            <a:endParaRPr sz="150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</a:pP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Не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принимайте и не продавайте такой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товар!</a:t>
            </a:r>
            <a:endParaRPr sz="900">
              <a:latin typeface="Segoe UI"/>
              <a:cs typeface="Segoe UI"/>
            </a:endParaRPr>
          </a:p>
        </p:txBody>
      </p:sp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11459" y="2946961"/>
            <a:ext cx="127000" cy="139700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884509" y="2884423"/>
            <a:ext cx="10005060" cy="8432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Производство,</a:t>
            </a:r>
            <a:r>
              <a:rPr sz="1500" b="1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приобретение,</a:t>
            </a:r>
            <a:r>
              <a:rPr sz="1500" b="1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хранение,</a:t>
            </a:r>
            <a:r>
              <a:rPr sz="1500" b="1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перевозка</a:t>
            </a:r>
            <a:r>
              <a:rPr sz="1500" b="1" dirty="0">
                <a:solidFill>
                  <a:srgbClr val="6D6E71"/>
                </a:solidFill>
                <a:latin typeface="Segoe UI"/>
                <a:cs typeface="Segoe UI"/>
              </a:rPr>
              <a:t> в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целях</a:t>
            </a:r>
            <a:r>
              <a:rPr sz="1500" b="1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dirty="0">
                <a:solidFill>
                  <a:srgbClr val="6D6E71"/>
                </a:solidFill>
                <a:latin typeface="Segoe UI"/>
                <a:cs typeface="Segoe UI"/>
              </a:rPr>
              <a:t>сбыта и</a:t>
            </a:r>
            <a:r>
              <a:rPr sz="1500" b="1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dirty="0">
                <a:solidFill>
                  <a:srgbClr val="6D6E71"/>
                </a:solidFill>
                <a:latin typeface="Segoe UI"/>
                <a:cs typeface="Segoe UI"/>
              </a:rPr>
              <a:t>сбыт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товаров</a:t>
            </a:r>
            <a:r>
              <a:rPr sz="1500" b="1" dirty="0">
                <a:solidFill>
                  <a:srgbClr val="6D6E71"/>
                </a:solidFill>
                <a:latin typeface="Segoe UI"/>
                <a:cs typeface="Segoe UI"/>
              </a:rPr>
              <a:t> с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поддельными</a:t>
            </a:r>
            <a:r>
              <a:rPr sz="1500" b="1" spc="-10" dirty="0">
                <a:solidFill>
                  <a:srgbClr val="6D6E71"/>
                </a:solidFill>
                <a:latin typeface="Segoe UI"/>
                <a:cs typeface="Segoe UI"/>
              </a:rPr>
              <a:t> кодами </a:t>
            </a:r>
            <a:r>
              <a:rPr sz="1500" b="1" spc="-4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маркировки</a:t>
            </a:r>
            <a:endParaRPr sz="1500">
              <a:latin typeface="Segoe UI"/>
              <a:cs typeface="Segoe UI"/>
            </a:endParaRPr>
          </a:p>
          <a:p>
            <a:pPr marL="40640">
              <a:lnSpc>
                <a:spcPct val="100000"/>
              </a:lnSpc>
              <a:spcBef>
                <a:spcPts val="1280"/>
              </a:spcBef>
            </a:pPr>
            <a:r>
              <a:rPr sz="1300" b="1" spc="-20" dirty="0">
                <a:solidFill>
                  <a:srgbClr val="6D6E71"/>
                </a:solidFill>
                <a:latin typeface="Segoe UI"/>
                <a:cs typeface="Segoe UI"/>
              </a:rPr>
              <a:t>Уголовная</a:t>
            </a:r>
            <a:r>
              <a:rPr sz="1300" b="1" spc="-4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300" b="1" spc="-25" dirty="0">
                <a:solidFill>
                  <a:srgbClr val="6D6E71"/>
                </a:solidFill>
                <a:latin typeface="Segoe UI"/>
                <a:cs typeface="Segoe UI"/>
              </a:rPr>
              <a:t>ответственность</a:t>
            </a:r>
            <a:endParaRPr sz="1300">
              <a:latin typeface="Segoe UI"/>
              <a:cs typeface="Segoe U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8849419" y="3960876"/>
            <a:ext cx="2672715" cy="79375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 marR="732790">
              <a:lnSpc>
                <a:spcPct val="98600"/>
              </a:lnSpc>
              <a:spcBef>
                <a:spcPts val="110"/>
              </a:spcBef>
            </a:pP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Если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речь идет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о крупной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партии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товара </a:t>
            </a:r>
            <a:r>
              <a:rPr sz="800" spc="-204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и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участии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организованной группы 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Лишение свободы:</a:t>
            </a:r>
            <a:endParaRPr sz="900">
              <a:latin typeface="Segoe UI"/>
              <a:cs typeface="Segoe UI"/>
            </a:endParaRPr>
          </a:p>
          <a:p>
            <a:pPr marL="12700">
              <a:lnSpc>
                <a:spcPts val="2130"/>
              </a:lnSpc>
              <a:spcBef>
                <a:spcPts val="15"/>
              </a:spcBef>
            </a:pPr>
            <a:r>
              <a:rPr sz="1800" b="1" spc="-5" dirty="0">
                <a:solidFill>
                  <a:srgbClr val="6D6E71"/>
                </a:solidFill>
                <a:latin typeface="Segoe UI"/>
                <a:cs typeface="Segoe UI"/>
              </a:rPr>
              <a:t>до</a:t>
            </a:r>
            <a:r>
              <a:rPr sz="18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6</a:t>
            </a:r>
            <a:r>
              <a:rPr sz="18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лет</a:t>
            </a:r>
            <a:endParaRPr sz="1800">
              <a:latin typeface="Segoe UI"/>
              <a:cs typeface="Segoe UI"/>
            </a:endParaRPr>
          </a:p>
          <a:p>
            <a:pPr marL="12700">
              <a:lnSpc>
                <a:spcPts val="930"/>
              </a:lnSpc>
            </a:pP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со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штрафом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до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1</a:t>
            </a:r>
            <a:r>
              <a:rPr sz="8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млн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руб.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или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 доход за</a:t>
            </a:r>
            <a:r>
              <a:rPr sz="8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период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до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5</a:t>
            </a:r>
            <a:r>
              <a:rPr sz="8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лет</a:t>
            </a:r>
            <a:endParaRPr sz="800">
              <a:latin typeface="Segoe UI"/>
              <a:cs typeface="Segoe UI"/>
            </a:endParaRPr>
          </a:p>
        </p:txBody>
      </p:sp>
      <p:pic>
        <p:nvPicPr>
          <p:cNvPr id="9" name="object 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11459" y="5043573"/>
            <a:ext cx="127000" cy="139700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883240" y="4981447"/>
            <a:ext cx="10156825" cy="12630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335">
              <a:lnSpc>
                <a:spcPct val="100000"/>
              </a:lnSpc>
              <a:spcBef>
                <a:spcPts val="100"/>
              </a:spcBef>
            </a:pPr>
            <a:r>
              <a:rPr sz="1500" b="1" dirty="0">
                <a:solidFill>
                  <a:srgbClr val="6D6E71"/>
                </a:solidFill>
                <a:latin typeface="Segoe UI"/>
                <a:cs typeface="Segoe UI"/>
              </a:rPr>
              <a:t>Отсутствие</a:t>
            </a:r>
            <a:r>
              <a:rPr sz="1500" b="1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регистрации </a:t>
            </a:r>
            <a:r>
              <a:rPr sz="1500" b="1" dirty="0">
                <a:solidFill>
                  <a:srgbClr val="6D6E71"/>
                </a:solidFill>
                <a:latin typeface="Segoe UI"/>
                <a:cs typeface="Segoe UI"/>
              </a:rPr>
              <a:t>в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 системе маркировки </a:t>
            </a:r>
            <a:r>
              <a:rPr sz="1500" b="1" dirty="0">
                <a:solidFill>
                  <a:srgbClr val="6D6E71"/>
                </a:solidFill>
                <a:latin typeface="Segoe UI"/>
                <a:cs typeface="Segoe UI"/>
              </a:rPr>
              <a:t>в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 установленные сроки</a:t>
            </a:r>
            <a:endParaRPr sz="150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</a:pP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Для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каждой</a:t>
            </a:r>
            <a:r>
              <a:rPr sz="900" spc="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группы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товаров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установлены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определенные</a:t>
            </a:r>
            <a:r>
              <a:rPr sz="900" spc="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сроки</a:t>
            </a:r>
            <a:r>
              <a:rPr sz="900" spc="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регистрации</a:t>
            </a:r>
            <a:r>
              <a:rPr sz="900" spc="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в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системе</a:t>
            </a:r>
            <a:r>
              <a:rPr sz="900" spc="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маркировки.</a:t>
            </a:r>
            <a:r>
              <a:rPr sz="900" spc="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Для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регистрации</a:t>
            </a:r>
            <a:r>
              <a:rPr sz="900" spc="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требуется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усиленная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квалифицированная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электронная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подпись.</a:t>
            </a:r>
            <a:endParaRPr sz="90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910"/>
              </a:spcBef>
            </a:pP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Продажа</a:t>
            </a:r>
            <a:r>
              <a:rPr sz="1500" b="1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10" dirty="0">
                <a:solidFill>
                  <a:srgbClr val="6D6E71"/>
                </a:solidFill>
                <a:latin typeface="Segoe UI"/>
                <a:cs typeface="Segoe UI"/>
              </a:rPr>
              <a:t>продукции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dirty="0">
                <a:solidFill>
                  <a:srgbClr val="6D6E71"/>
                </a:solidFill>
                <a:latin typeface="Segoe UI"/>
                <a:cs typeface="Segoe UI"/>
              </a:rPr>
              <a:t>в</a:t>
            </a:r>
            <a:r>
              <a:rPr sz="1500" b="1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розницу</a:t>
            </a:r>
            <a:r>
              <a:rPr sz="1500" b="1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без</a:t>
            </a:r>
            <a:r>
              <a:rPr sz="1500" b="1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вывода</a:t>
            </a:r>
            <a:r>
              <a:rPr sz="1500" b="1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из</a:t>
            </a:r>
            <a:r>
              <a:rPr sz="1500" b="1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10" dirty="0">
                <a:solidFill>
                  <a:srgbClr val="6D6E71"/>
                </a:solidFill>
                <a:latin typeface="Segoe UI"/>
                <a:cs typeface="Segoe UI"/>
              </a:rPr>
              <a:t>оборота</a:t>
            </a:r>
            <a:r>
              <a:rPr sz="1500" b="1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или </a:t>
            </a:r>
            <a:r>
              <a:rPr sz="1500" b="1" dirty="0">
                <a:solidFill>
                  <a:srgbClr val="6D6E71"/>
                </a:solidFill>
                <a:latin typeface="Segoe UI"/>
                <a:cs typeface="Segoe UI"/>
              </a:rPr>
              <a:t>со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5" dirty="0">
                <a:solidFill>
                  <a:srgbClr val="6D6E71"/>
                </a:solidFill>
                <a:latin typeface="Segoe UI"/>
                <a:cs typeface="Segoe UI"/>
              </a:rPr>
              <a:t>статусом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15" dirty="0">
                <a:solidFill>
                  <a:srgbClr val="6D6E71"/>
                </a:solidFill>
                <a:latin typeface="Segoe UI"/>
                <a:cs typeface="Segoe UI"/>
              </a:rPr>
              <a:t>кодов</a:t>
            </a:r>
            <a:r>
              <a:rPr sz="1500" b="1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500" b="1" spc="-5" dirty="0">
                <a:solidFill>
                  <a:srgbClr val="6D6E71"/>
                </a:solidFill>
                <a:latin typeface="Segoe UI"/>
                <a:cs typeface="Segoe UI"/>
              </a:rPr>
              <a:t>«Выбыл»</a:t>
            </a:r>
            <a:endParaRPr sz="1500">
              <a:latin typeface="Segoe UI"/>
              <a:cs typeface="Segoe UI"/>
            </a:endParaRPr>
          </a:p>
          <a:p>
            <a:pPr marL="12700" marR="5080">
              <a:lnSpc>
                <a:spcPts val="1010"/>
              </a:lnSpc>
              <a:spcBef>
                <a:spcPts val="190"/>
              </a:spcBef>
            </a:pP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Если</a:t>
            </a:r>
            <a:r>
              <a:rPr sz="9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вы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не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сканируете</a:t>
            </a:r>
            <a:r>
              <a:rPr sz="9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коды</a:t>
            </a:r>
            <a:r>
              <a:rPr sz="9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на</a:t>
            </a:r>
            <a:r>
              <a:rPr sz="9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товарах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при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продаже</a:t>
            </a:r>
            <a:r>
              <a:rPr sz="9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или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у</a:t>
            </a:r>
            <a:r>
              <a:rPr sz="9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вас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не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настроена</a:t>
            </a:r>
            <a:r>
              <a:rPr sz="9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касса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для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работы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9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маркированными</a:t>
            </a:r>
            <a:r>
              <a:rPr sz="9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товарами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или</a:t>
            </a:r>
            <a:r>
              <a:rPr sz="9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вы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не</a:t>
            </a:r>
            <a:r>
              <a:rPr sz="900" spc="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заключили</a:t>
            </a:r>
            <a:r>
              <a:rPr sz="9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доп.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соглашение</a:t>
            </a:r>
            <a:r>
              <a:rPr sz="9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9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вашим</a:t>
            </a:r>
            <a:r>
              <a:rPr sz="9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ОФД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на</a:t>
            </a:r>
            <a:r>
              <a:rPr sz="9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передачу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 данных в систему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маркировки(если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это требуется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согласно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законодательству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РФ),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то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вас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 могут</a:t>
            </a:r>
            <a:r>
              <a:rPr sz="9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оштрафовать.</a:t>
            </a:r>
            <a:endParaRPr sz="900">
              <a:latin typeface="Segoe UI"/>
              <a:cs typeface="Segoe UI"/>
            </a:endParaRPr>
          </a:p>
          <a:p>
            <a:pPr marL="40005">
              <a:lnSpc>
                <a:spcPct val="100000"/>
              </a:lnSpc>
              <a:spcBef>
                <a:spcPts val="860"/>
              </a:spcBef>
            </a:pP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Для</a:t>
            </a:r>
            <a:r>
              <a:rPr sz="9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должностных</a:t>
            </a:r>
            <a:r>
              <a:rPr sz="900" b="1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лиц:</a:t>
            </a:r>
            <a:endParaRPr sz="900">
              <a:latin typeface="Segoe UI"/>
              <a:cs typeface="Segoe U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834170" y="3960876"/>
            <a:ext cx="2766060" cy="793750"/>
          </a:xfrm>
          <a:prstGeom prst="rect">
            <a:avLst/>
          </a:prstGeom>
        </p:spPr>
        <p:txBody>
          <a:bodyPr vert="horz" wrap="square" lIns="0" tIns="23495" rIns="0" bIns="0" rtlCol="0">
            <a:spAutoFit/>
          </a:bodyPr>
          <a:lstStyle/>
          <a:p>
            <a:pPr marL="12700" marR="375285">
              <a:lnSpc>
                <a:spcPts val="890"/>
              </a:lnSpc>
              <a:spcBef>
                <a:spcPts val="185"/>
              </a:spcBef>
            </a:pP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В</a:t>
            </a:r>
            <a:r>
              <a:rPr sz="8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случае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предварительного</a:t>
            </a:r>
            <a:r>
              <a:rPr sz="8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сговора</a:t>
            </a:r>
            <a:r>
              <a:rPr sz="800" spc="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или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участия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в </a:t>
            </a:r>
            <a:r>
              <a:rPr sz="800" spc="-204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преступлении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группы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лиц</a:t>
            </a:r>
            <a:endParaRPr sz="80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Лишение</a:t>
            </a:r>
            <a:r>
              <a:rPr sz="9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свободы:</a:t>
            </a:r>
            <a:endParaRPr sz="900">
              <a:latin typeface="Segoe UI"/>
              <a:cs typeface="Segoe UI"/>
            </a:endParaRPr>
          </a:p>
          <a:p>
            <a:pPr marL="12700">
              <a:lnSpc>
                <a:spcPts val="2130"/>
              </a:lnSpc>
              <a:spcBef>
                <a:spcPts val="10"/>
              </a:spcBef>
            </a:pPr>
            <a:r>
              <a:rPr sz="1800" b="1" spc="-5" dirty="0">
                <a:solidFill>
                  <a:srgbClr val="6D6E71"/>
                </a:solidFill>
                <a:latin typeface="Segoe UI"/>
                <a:cs typeface="Segoe UI"/>
              </a:rPr>
              <a:t>до</a:t>
            </a:r>
            <a:r>
              <a:rPr sz="18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4</a:t>
            </a:r>
            <a:r>
              <a:rPr sz="18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лет</a:t>
            </a:r>
            <a:endParaRPr sz="1800">
              <a:latin typeface="Segoe UI"/>
              <a:cs typeface="Segoe UI"/>
            </a:endParaRPr>
          </a:p>
          <a:p>
            <a:pPr marL="12700">
              <a:lnSpc>
                <a:spcPts val="930"/>
              </a:lnSpc>
            </a:pP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со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штрафом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до</a:t>
            </a:r>
            <a:r>
              <a:rPr sz="8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100</a:t>
            </a:r>
            <a:r>
              <a:rPr sz="8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000</a:t>
            </a:r>
            <a:r>
              <a:rPr sz="8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руб.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или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 доход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за</a:t>
            </a:r>
            <a:r>
              <a:rPr sz="8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период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до</a:t>
            </a:r>
            <a:r>
              <a:rPr sz="8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5</a:t>
            </a:r>
            <a:r>
              <a:rPr sz="8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лет</a:t>
            </a:r>
            <a:endParaRPr sz="800">
              <a:latin typeface="Segoe UI"/>
              <a:cs typeface="Segoe U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529269" y="3960367"/>
            <a:ext cx="1651000" cy="681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040"/>
              </a:lnSpc>
              <a:spcBef>
                <a:spcPts val="100"/>
              </a:spcBef>
            </a:pP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Лишение</a:t>
            </a:r>
            <a:r>
              <a:rPr sz="9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свободы:</a:t>
            </a:r>
            <a:endParaRPr sz="900">
              <a:latin typeface="Segoe UI"/>
              <a:cs typeface="Segoe UI"/>
            </a:endParaRPr>
          </a:p>
          <a:p>
            <a:pPr marL="12700">
              <a:lnSpc>
                <a:spcPts val="2120"/>
              </a:lnSpc>
            </a:pPr>
            <a:r>
              <a:rPr sz="1800" b="1" spc="-5" dirty="0">
                <a:solidFill>
                  <a:srgbClr val="6D6E71"/>
                </a:solidFill>
                <a:latin typeface="Segoe UI"/>
                <a:cs typeface="Segoe UI"/>
              </a:rPr>
              <a:t>до</a:t>
            </a:r>
            <a:r>
              <a:rPr sz="18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3</a:t>
            </a:r>
            <a:r>
              <a:rPr sz="18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лет</a:t>
            </a:r>
            <a:endParaRPr sz="180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со штрафом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 до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 80 000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руб.</a:t>
            </a:r>
            <a:endParaRPr sz="80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45"/>
              </a:spcBef>
            </a:pP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или</a:t>
            </a:r>
            <a:r>
              <a:rPr sz="8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доход за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период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 до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6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месяцев</a:t>
            </a:r>
            <a:endParaRPr sz="800">
              <a:latin typeface="Segoe UI"/>
              <a:cs typeface="Segoe U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912931" y="3960367"/>
            <a:ext cx="1423670" cy="6934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Статья</a:t>
            </a:r>
            <a:r>
              <a:rPr sz="900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171.1</a:t>
            </a:r>
            <a:r>
              <a:rPr sz="900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dirty="0">
                <a:solidFill>
                  <a:srgbClr val="6D6E71"/>
                </a:solidFill>
                <a:latin typeface="Segoe UI"/>
                <a:cs typeface="Segoe UI"/>
              </a:rPr>
              <a:t>УК</a:t>
            </a:r>
            <a:r>
              <a:rPr sz="900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spc="-5" dirty="0">
                <a:solidFill>
                  <a:srgbClr val="6D6E71"/>
                </a:solidFill>
                <a:latin typeface="Segoe UI"/>
                <a:cs typeface="Segoe UI"/>
              </a:rPr>
              <a:t>РФ</a:t>
            </a:r>
            <a:endParaRPr sz="900">
              <a:latin typeface="Segoe UI"/>
              <a:cs typeface="Segoe UI"/>
            </a:endParaRPr>
          </a:p>
          <a:p>
            <a:pPr marL="12700">
              <a:lnSpc>
                <a:spcPts val="1040"/>
              </a:lnSpc>
              <a:spcBef>
                <a:spcPts val="25"/>
              </a:spcBef>
            </a:pP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Штрафы</a:t>
            </a:r>
            <a:endParaRPr sz="900">
              <a:latin typeface="Segoe UI"/>
              <a:cs typeface="Segoe UI"/>
            </a:endParaRPr>
          </a:p>
          <a:p>
            <a:pPr marL="12700">
              <a:lnSpc>
                <a:spcPts val="2120"/>
              </a:lnSpc>
            </a:pPr>
            <a:r>
              <a:rPr sz="1800" b="1" spc="-5" dirty="0">
                <a:solidFill>
                  <a:srgbClr val="6D6E71"/>
                </a:solidFill>
                <a:latin typeface="Segoe UI"/>
                <a:cs typeface="Segoe UI"/>
              </a:rPr>
              <a:t>до</a:t>
            </a:r>
            <a:r>
              <a:rPr sz="1800" b="1" spc="-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300</a:t>
            </a:r>
            <a:r>
              <a:rPr sz="18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000</a:t>
            </a:r>
            <a:r>
              <a:rPr sz="18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₽</a:t>
            </a:r>
            <a:endParaRPr sz="180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или</a:t>
            </a:r>
            <a:r>
              <a:rPr sz="8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доход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за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период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до 2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лет</a:t>
            </a:r>
            <a:endParaRPr sz="800">
              <a:latin typeface="Segoe UI"/>
              <a:cs typeface="Segoe U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911037" y="6208267"/>
            <a:ext cx="1566545" cy="426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solidFill>
                  <a:srgbClr val="6D6E71"/>
                </a:solidFill>
                <a:latin typeface="Segoe UI"/>
                <a:cs typeface="Segoe UI"/>
              </a:rPr>
              <a:t>1000-10</a:t>
            </a:r>
            <a:r>
              <a:rPr sz="1800" b="1" spc="-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000</a:t>
            </a:r>
            <a:r>
              <a:rPr sz="18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₽</a:t>
            </a:r>
            <a:endParaRPr sz="180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или</a:t>
            </a:r>
            <a:r>
              <a:rPr sz="800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предупреждение</a:t>
            </a:r>
            <a:endParaRPr sz="800">
              <a:latin typeface="Segoe UI"/>
              <a:cs typeface="Segoe U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349533" y="6103111"/>
            <a:ext cx="1893570" cy="426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040"/>
              </a:lnSpc>
              <a:spcBef>
                <a:spcPts val="100"/>
              </a:spcBef>
            </a:pP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Для</a:t>
            </a:r>
            <a:r>
              <a:rPr sz="900" b="1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юридических</a:t>
            </a:r>
            <a:r>
              <a:rPr sz="900" b="1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лиц:</a:t>
            </a:r>
            <a:endParaRPr sz="900">
              <a:latin typeface="Segoe UI"/>
              <a:cs typeface="Segoe UI"/>
            </a:endParaRPr>
          </a:p>
          <a:p>
            <a:pPr marL="12700">
              <a:lnSpc>
                <a:spcPts val="2120"/>
              </a:lnSpc>
            </a:pP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50</a:t>
            </a:r>
            <a:r>
              <a:rPr sz="18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spc="-5" dirty="0">
                <a:solidFill>
                  <a:srgbClr val="6D6E71"/>
                </a:solidFill>
                <a:latin typeface="Segoe UI"/>
                <a:cs typeface="Segoe UI"/>
              </a:rPr>
              <a:t>000-100</a:t>
            </a:r>
            <a:r>
              <a:rPr sz="1800" b="1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000</a:t>
            </a:r>
            <a:r>
              <a:rPr sz="1800" b="1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₽</a:t>
            </a:r>
            <a:endParaRPr sz="1800">
              <a:latin typeface="Segoe UI"/>
              <a:cs typeface="Segoe U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16939" y="1724659"/>
            <a:ext cx="273748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Административная</a:t>
            </a:r>
            <a:r>
              <a:rPr sz="1200" b="1" spc="-4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ответственность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916939" y="2043176"/>
            <a:ext cx="1867535" cy="553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Для</a:t>
            </a:r>
            <a:r>
              <a:rPr sz="9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должностных</a:t>
            </a:r>
            <a:r>
              <a:rPr sz="900" b="1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лиц:</a:t>
            </a:r>
            <a:endParaRPr sz="900">
              <a:latin typeface="Segoe UI"/>
              <a:cs typeface="Segoe UI"/>
            </a:endParaRPr>
          </a:p>
          <a:p>
            <a:pPr marL="12700">
              <a:lnSpc>
                <a:spcPts val="2130"/>
              </a:lnSpc>
              <a:spcBef>
                <a:spcPts val="10"/>
              </a:spcBef>
            </a:pP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5</a:t>
            </a:r>
            <a:r>
              <a:rPr sz="1800" b="1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spc="-5" dirty="0">
                <a:solidFill>
                  <a:srgbClr val="6D6E71"/>
                </a:solidFill>
                <a:latin typeface="Segoe UI"/>
                <a:cs typeface="Segoe UI"/>
              </a:rPr>
              <a:t>000-10</a:t>
            </a:r>
            <a:r>
              <a:rPr sz="1800" b="1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000</a:t>
            </a:r>
            <a:r>
              <a:rPr sz="1800" b="1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₽</a:t>
            </a:r>
            <a:endParaRPr sz="1800">
              <a:latin typeface="Segoe UI"/>
              <a:cs typeface="Segoe UI"/>
            </a:endParaRPr>
          </a:p>
          <a:p>
            <a:pPr marL="12700">
              <a:lnSpc>
                <a:spcPts val="930"/>
              </a:lnSpc>
            </a:pP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8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конфискацией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предметов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нарушения</a:t>
            </a:r>
            <a:endParaRPr sz="800">
              <a:latin typeface="Segoe UI"/>
              <a:cs typeface="Segoe U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068270" y="2049271"/>
            <a:ext cx="1893570" cy="553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040"/>
              </a:lnSpc>
              <a:spcBef>
                <a:spcPts val="100"/>
              </a:spcBef>
            </a:pP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Для</a:t>
            </a:r>
            <a:r>
              <a:rPr sz="900" b="1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юридических</a:t>
            </a:r>
            <a:r>
              <a:rPr sz="900" b="1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лиц:</a:t>
            </a:r>
            <a:endParaRPr sz="900">
              <a:latin typeface="Segoe UI"/>
              <a:cs typeface="Segoe UI"/>
            </a:endParaRPr>
          </a:p>
          <a:p>
            <a:pPr marL="12700">
              <a:lnSpc>
                <a:spcPts val="2120"/>
              </a:lnSpc>
            </a:pP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50</a:t>
            </a:r>
            <a:r>
              <a:rPr sz="18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spc="-5" dirty="0">
                <a:solidFill>
                  <a:srgbClr val="6D6E71"/>
                </a:solidFill>
                <a:latin typeface="Segoe UI"/>
                <a:cs typeface="Segoe UI"/>
              </a:rPr>
              <a:t>000-300</a:t>
            </a:r>
            <a:r>
              <a:rPr sz="1800" b="1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000</a:t>
            </a:r>
            <a:r>
              <a:rPr sz="1800" b="1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₽</a:t>
            </a:r>
            <a:endParaRPr sz="180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8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конфискацией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предметов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нарушения</a:t>
            </a:r>
            <a:endParaRPr sz="800">
              <a:latin typeface="Segoe UI"/>
              <a:cs typeface="Segoe U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679624" y="1742947"/>
            <a:ext cx="3010535" cy="7296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410"/>
              </a:lnSpc>
              <a:spcBef>
                <a:spcPts val="100"/>
              </a:spcBef>
            </a:pPr>
            <a:r>
              <a:rPr sz="1200" b="1" spc="-10" dirty="0">
                <a:solidFill>
                  <a:srgbClr val="6D6E71"/>
                </a:solidFill>
                <a:latin typeface="Segoe UI"/>
                <a:cs typeface="Segoe UI"/>
              </a:rPr>
              <a:t>Уголовная</a:t>
            </a:r>
            <a:r>
              <a:rPr sz="12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ответственность</a:t>
            </a:r>
            <a:endParaRPr sz="1200">
              <a:latin typeface="Segoe UI"/>
              <a:cs typeface="Segoe UI"/>
            </a:endParaRPr>
          </a:p>
          <a:p>
            <a:pPr marL="12700">
              <a:lnSpc>
                <a:spcPts val="930"/>
              </a:lnSpc>
            </a:pP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За</a:t>
            </a:r>
            <a:r>
              <a:rPr sz="8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преступления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 в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особо</a:t>
            </a:r>
            <a:r>
              <a:rPr sz="8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spc="-5" dirty="0">
                <a:solidFill>
                  <a:srgbClr val="6D6E71"/>
                </a:solidFill>
                <a:latin typeface="Segoe UI"/>
                <a:cs typeface="Segoe UI"/>
              </a:rPr>
              <a:t>крупных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 размерах и в</a:t>
            </a:r>
            <a:r>
              <a:rPr sz="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800" dirty="0">
                <a:solidFill>
                  <a:srgbClr val="6D6E71"/>
                </a:solidFill>
                <a:latin typeface="Segoe UI"/>
                <a:cs typeface="Segoe UI"/>
              </a:rPr>
              <a:t>случае сговора</a:t>
            </a:r>
            <a:endParaRPr sz="800">
              <a:latin typeface="Segoe UI"/>
              <a:cs typeface="Segoe UI"/>
            </a:endParaRPr>
          </a:p>
          <a:p>
            <a:pPr marL="12700">
              <a:lnSpc>
                <a:spcPts val="1040"/>
              </a:lnSpc>
              <a:spcBef>
                <a:spcPts val="45"/>
              </a:spcBef>
            </a:pP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Штрафы:</a:t>
            </a:r>
            <a:endParaRPr sz="900">
              <a:latin typeface="Segoe UI"/>
              <a:cs typeface="Segoe UI"/>
            </a:endParaRPr>
          </a:p>
          <a:p>
            <a:pPr marL="12700">
              <a:lnSpc>
                <a:spcPts val="2120"/>
              </a:lnSpc>
            </a:pPr>
            <a:r>
              <a:rPr sz="1800" b="1" spc="-5" dirty="0">
                <a:solidFill>
                  <a:srgbClr val="6D6E71"/>
                </a:solidFill>
                <a:latin typeface="Segoe UI"/>
                <a:cs typeface="Segoe UI"/>
              </a:rPr>
              <a:t>до</a:t>
            </a:r>
            <a:r>
              <a:rPr sz="1800" b="1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1</a:t>
            </a:r>
            <a:r>
              <a:rPr sz="1800" b="1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000</a:t>
            </a:r>
            <a:r>
              <a:rPr sz="1800" b="1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000</a:t>
            </a:r>
            <a:r>
              <a:rPr sz="1800" b="1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₽</a:t>
            </a:r>
            <a:endParaRPr sz="1800">
              <a:latin typeface="Segoe UI"/>
              <a:cs typeface="Segoe U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9062143" y="2030984"/>
            <a:ext cx="1073150" cy="426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040"/>
              </a:lnSpc>
              <a:spcBef>
                <a:spcPts val="100"/>
              </a:spcBef>
            </a:pP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Лишение</a:t>
            </a:r>
            <a:r>
              <a:rPr sz="900" b="1" spc="-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900" b="1" spc="-5" dirty="0">
                <a:solidFill>
                  <a:srgbClr val="6D6E71"/>
                </a:solidFill>
                <a:latin typeface="Segoe UI"/>
                <a:cs typeface="Segoe UI"/>
              </a:rPr>
              <a:t>свободы</a:t>
            </a:r>
            <a:endParaRPr sz="900">
              <a:latin typeface="Segoe UI"/>
              <a:cs typeface="Segoe UI"/>
            </a:endParaRPr>
          </a:p>
          <a:p>
            <a:pPr marL="12700">
              <a:lnSpc>
                <a:spcPts val="2120"/>
              </a:lnSpc>
            </a:pPr>
            <a:r>
              <a:rPr sz="1800" b="1" spc="-5" dirty="0">
                <a:solidFill>
                  <a:srgbClr val="6D6E71"/>
                </a:solidFill>
                <a:latin typeface="Segoe UI"/>
                <a:cs typeface="Segoe UI"/>
              </a:rPr>
              <a:t>до</a:t>
            </a:r>
            <a:r>
              <a:rPr sz="18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5</a:t>
            </a:r>
            <a:r>
              <a:rPr sz="18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лет</a:t>
            </a:r>
            <a:endParaRPr sz="1800">
              <a:latin typeface="Segoe UI"/>
              <a:cs typeface="Segoe UI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731837" y="2742952"/>
            <a:ext cx="10809605" cy="14604"/>
          </a:xfrm>
          <a:custGeom>
            <a:avLst/>
            <a:gdLst/>
            <a:ahLst/>
            <a:cxnLst/>
            <a:rect l="l" t="t" r="r" b="b"/>
            <a:pathLst>
              <a:path w="10809605" h="14605">
                <a:moveTo>
                  <a:pt x="0" y="14178"/>
                </a:moveTo>
                <a:lnTo>
                  <a:pt x="10809159" y="0"/>
                </a:lnTo>
              </a:path>
            </a:pathLst>
          </a:custGeom>
          <a:ln w="635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731837" y="4859421"/>
            <a:ext cx="10809605" cy="14604"/>
          </a:xfrm>
          <a:custGeom>
            <a:avLst/>
            <a:gdLst/>
            <a:ahLst/>
            <a:cxnLst/>
            <a:rect l="l" t="t" r="r" b="b"/>
            <a:pathLst>
              <a:path w="10809605" h="14604">
                <a:moveTo>
                  <a:pt x="0" y="14178"/>
                </a:moveTo>
                <a:lnTo>
                  <a:pt x="10809159" y="0"/>
                </a:lnTo>
              </a:path>
            </a:pathLst>
          </a:custGeom>
          <a:ln w="635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9626560" y="1226856"/>
            <a:ext cx="2045970" cy="509905"/>
          </a:xfrm>
          <a:custGeom>
            <a:avLst/>
            <a:gdLst/>
            <a:ahLst/>
            <a:cxnLst/>
            <a:rect l="l" t="t" r="r" b="b"/>
            <a:pathLst>
              <a:path w="2045970" h="509905">
                <a:moveTo>
                  <a:pt x="0" y="84924"/>
                </a:moveTo>
                <a:lnTo>
                  <a:pt x="6673" y="51867"/>
                </a:lnTo>
                <a:lnTo>
                  <a:pt x="24873" y="24873"/>
                </a:lnTo>
                <a:lnTo>
                  <a:pt x="51867" y="6673"/>
                </a:lnTo>
                <a:lnTo>
                  <a:pt x="84923" y="0"/>
                </a:lnTo>
                <a:lnTo>
                  <a:pt x="1960494" y="0"/>
                </a:lnTo>
                <a:lnTo>
                  <a:pt x="1993550" y="6673"/>
                </a:lnTo>
                <a:lnTo>
                  <a:pt x="2020544" y="24873"/>
                </a:lnTo>
                <a:lnTo>
                  <a:pt x="2038744" y="51867"/>
                </a:lnTo>
                <a:lnTo>
                  <a:pt x="2045418" y="84924"/>
                </a:lnTo>
                <a:lnTo>
                  <a:pt x="2045418" y="424604"/>
                </a:lnTo>
                <a:lnTo>
                  <a:pt x="2038744" y="457661"/>
                </a:lnTo>
                <a:lnTo>
                  <a:pt x="2020544" y="484655"/>
                </a:lnTo>
                <a:lnTo>
                  <a:pt x="1993550" y="502855"/>
                </a:lnTo>
                <a:lnTo>
                  <a:pt x="1960494" y="509529"/>
                </a:lnTo>
                <a:lnTo>
                  <a:pt x="84923" y="509529"/>
                </a:lnTo>
                <a:lnTo>
                  <a:pt x="51867" y="502855"/>
                </a:lnTo>
                <a:lnTo>
                  <a:pt x="24873" y="484655"/>
                </a:lnTo>
                <a:lnTo>
                  <a:pt x="6673" y="457661"/>
                </a:lnTo>
                <a:lnTo>
                  <a:pt x="0" y="424604"/>
                </a:lnTo>
                <a:lnTo>
                  <a:pt x="0" y="84924"/>
                </a:lnTo>
                <a:close/>
              </a:path>
            </a:pathLst>
          </a:custGeom>
          <a:ln w="1270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9787542" y="1377188"/>
            <a:ext cx="17240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Действует</a:t>
            </a:r>
            <a:r>
              <a:rPr sz="1200" b="1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200" b="1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1</a:t>
            </a:r>
            <a:r>
              <a:rPr sz="12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дек</a:t>
            </a:r>
            <a:r>
              <a:rPr sz="1200" b="1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2021</a:t>
            </a:r>
            <a:endParaRPr sz="1200">
              <a:latin typeface="Segoe UI"/>
              <a:cs typeface="Segoe UI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18183" y="4841871"/>
            <a:ext cx="1620520" cy="1620520"/>
          </a:xfrm>
          <a:custGeom>
            <a:avLst/>
            <a:gdLst/>
            <a:ahLst/>
            <a:cxnLst/>
            <a:rect l="l" t="t" r="r" b="b"/>
            <a:pathLst>
              <a:path w="1620520" h="1620520">
                <a:moveTo>
                  <a:pt x="1495130" y="0"/>
                </a:moveTo>
                <a:lnTo>
                  <a:pt x="124869" y="0"/>
                </a:lnTo>
                <a:lnTo>
                  <a:pt x="76264" y="9812"/>
                </a:lnTo>
                <a:lnTo>
                  <a:pt x="36573" y="36573"/>
                </a:lnTo>
                <a:lnTo>
                  <a:pt x="9812" y="76264"/>
                </a:lnTo>
                <a:lnTo>
                  <a:pt x="0" y="124868"/>
                </a:lnTo>
                <a:lnTo>
                  <a:pt x="0" y="1495130"/>
                </a:lnTo>
                <a:lnTo>
                  <a:pt x="9812" y="1543735"/>
                </a:lnTo>
                <a:lnTo>
                  <a:pt x="36573" y="1583426"/>
                </a:lnTo>
                <a:lnTo>
                  <a:pt x="76264" y="1610186"/>
                </a:lnTo>
                <a:lnTo>
                  <a:pt x="124869" y="1619999"/>
                </a:lnTo>
                <a:lnTo>
                  <a:pt x="1495130" y="1619999"/>
                </a:lnTo>
                <a:lnTo>
                  <a:pt x="1543735" y="1610186"/>
                </a:lnTo>
                <a:lnTo>
                  <a:pt x="1583426" y="1583426"/>
                </a:lnTo>
                <a:lnTo>
                  <a:pt x="1610186" y="1543735"/>
                </a:lnTo>
                <a:lnTo>
                  <a:pt x="1619999" y="1495130"/>
                </a:lnTo>
                <a:lnTo>
                  <a:pt x="1619999" y="124868"/>
                </a:lnTo>
                <a:lnTo>
                  <a:pt x="1610186" y="76264"/>
                </a:lnTo>
                <a:lnTo>
                  <a:pt x="1583426" y="36573"/>
                </a:lnTo>
                <a:lnTo>
                  <a:pt x="1543735" y="9812"/>
                </a:lnTo>
                <a:lnTo>
                  <a:pt x="149513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37911" y="3044402"/>
            <a:ext cx="1620520" cy="1620520"/>
          </a:xfrm>
          <a:custGeom>
            <a:avLst/>
            <a:gdLst/>
            <a:ahLst/>
            <a:cxnLst/>
            <a:rect l="l" t="t" r="r" b="b"/>
            <a:pathLst>
              <a:path w="1620520" h="1620520">
                <a:moveTo>
                  <a:pt x="1495129" y="0"/>
                </a:moveTo>
                <a:lnTo>
                  <a:pt x="124869" y="0"/>
                </a:lnTo>
                <a:lnTo>
                  <a:pt x="76264" y="9812"/>
                </a:lnTo>
                <a:lnTo>
                  <a:pt x="36573" y="36573"/>
                </a:lnTo>
                <a:lnTo>
                  <a:pt x="9812" y="76264"/>
                </a:lnTo>
                <a:lnTo>
                  <a:pt x="0" y="124870"/>
                </a:lnTo>
                <a:lnTo>
                  <a:pt x="0" y="1495130"/>
                </a:lnTo>
                <a:lnTo>
                  <a:pt x="9812" y="1543735"/>
                </a:lnTo>
                <a:lnTo>
                  <a:pt x="36573" y="1583426"/>
                </a:lnTo>
                <a:lnTo>
                  <a:pt x="76264" y="1610186"/>
                </a:lnTo>
                <a:lnTo>
                  <a:pt x="124869" y="1619999"/>
                </a:lnTo>
                <a:lnTo>
                  <a:pt x="1495129" y="1619999"/>
                </a:lnTo>
                <a:lnTo>
                  <a:pt x="1543734" y="1610186"/>
                </a:lnTo>
                <a:lnTo>
                  <a:pt x="1583426" y="1583426"/>
                </a:lnTo>
                <a:lnTo>
                  <a:pt x="1610187" y="1543735"/>
                </a:lnTo>
                <a:lnTo>
                  <a:pt x="1620000" y="1495130"/>
                </a:lnTo>
                <a:lnTo>
                  <a:pt x="1620000" y="124870"/>
                </a:lnTo>
                <a:lnTo>
                  <a:pt x="1610187" y="76264"/>
                </a:lnTo>
                <a:lnTo>
                  <a:pt x="1583426" y="36573"/>
                </a:lnTo>
                <a:lnTo>
                  <a:pt x="1543734" y="9812"/>
                </a:lnTo>
                <a:lnTo>
                  <a:pt x="1495129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" name="object 4"/>
          <p:cNvGrpSpPr/>
          <p:nvPr/>
        </p:nvGrpSpPr>
        <p:grpSpPr>
          <a:xfrm>
            <a:off x="337911" y="1254561"/>
            <a:ext cx="2109470" cy="1620520"/>
            <a:chOff x="337911" y="1254561"/>
            <a:chExt cx="2109470" cy="1620520"/>
          </a:xfrm>
        </p:grpSpPr>
        <p:sp>
          <p:nvSpPr>
            <p:cNvPr id="5" name="object 5"/>
            <p:cNvSpPr/>
            <p:nvPr/>
          </p:nvSpPr>
          <p:spPr>
            <a:xfrm>
              <a:off x="337911" y="1254561"/>
              <a:ext cx="1620520" cy="1620520"/>
            </a:xfrm>
            <a:custGeom>
              <a:avLst/>
              <a:gdLst/>
              <a:ahLst/>
              <a:cxnLst/>
              <a:rect l="l" t="t" r="r" b="b"/>
              <a:pathLst>
                <a:path w="1620520" h="1620520">
                  <a:moveTo>
                    <a:pt x="1495129" y="0"/>
                  </a:moveTo>
                  <a:lnTo>
                    <a:pt x="124869" y="0"/>
                  </a:lnTo>
                  <a:lnTo>
                    <a:pt x="76264" y="9812"/>
                  </a:lnTo>
                  <a:lnTo>
                    <a:pt x="36573" y="36573"/>
                  </a:lnTo>
                  <a:lnTo>
                    <a:pt x="9812" y="76265"/>
                  </a:lnTo>
                  <a:lnTo>
                    <a:pt x="0" y="124870"/>
                  </a:lnTo>
                  <a:lnTo>
                    <a:pt x="0" y="1495130"/>
                  </a:lnTo>
                  <a:lnTo>
                    <a:pt x="9812" y="1543735"/>
                  </a:lnTo>
                  <a:lnTo>
                    <a:pt x="36573" y="1583426"/>
                  </a:lnTo>
                  <a:lnTo>
                    <a:pt x="76264" y="1610187"/>
                  </a:lnTo>
                  <a:lnTo>
                    <a:pt x="124869" y="1620000"/>
                  </a:lnTo>
                  <a:lnTo>
                    <a:pt x="1495129" y="1620000"/>
                  </a:lnTo>
                  <a:lnTo>
                    <a:pt x="1543734" y="1610187"/>
                  </a:lnTo>
                  <a:lnTo>
                    <a:pt x="1583426" y="1583426"/>
                  </a:lnTo>
                  <a:lnTo>
                    <a:pt x="1610187" y="1543735"/>
                  </a:lnTo>
                  <a:lnTo>
                    <a:pt x="1620000" y="1495130"/>
                  </a:lnTo>
                  <a:lnTo>
                    <a:pt x="1620000" y="124870"/>
                  </a:lnTo>
                  <a:lnTo>
                    <a:pt x="1610187" y="76265"/>
                  </a:lnTo>
                  <a:lnTo>
                    <a:pt x="1583426" y="36573"/>
                  </a:lnTo>
                  <a:lnTo>
                    <a:pt x="1543734" y="9812"/>
                  </a:lnTo>
                  <a:lnTo>
                    <a:pt x="1495129" y="0"/>
                  </a:lnTo>
                  <a:close/>
                </a:path>
              </a:pathLst>
            </a:custGeom>
            <a:solidFill>
              <a:srgbClr val="F2F2F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99968" y="1990181"/>
              <a:ext cx="434340" cy="0"/>
            </a:xfrm>
            <a:custGeom>
              <a:avLst/>
              <a:gdLst/>
              <a:ahLst/>
              <a:cxnLst/>
              <a:rect l="l" t="t" r="r" b="b"/>
              <a:pathLst>
                <a:path w="434339">
                  <a:moveTo>
                    <a:pt x="0" y="0"/>
                  </a:moveTo>
                  <a:lnTo>
                    <a:pt x="434313" y="1"/>
                  </a:lnTo>
                </a:path>
              </a:pathLst>
            </a:custGeom>
            <a:ln w="25400">
              <a:solidFill>
                <a:srgbClr val="6D6E7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2214283" y="5617972"/>
            <a:ext cx="4307205" cy="4826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</a:pP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Объемно-сортовой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учет</a:t>
            </a:r>
            <a:r>
              <a:rPr sz="10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в</a:t>
            </a:r>
            <a:r>
              <a:rPr sz="10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эУПД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(нужно</a:t>
            </a:r>
            <a:r>
              <a:rPr sz="10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подавать</a:t>
            </a:r>
            <a:r>
              <a:rPr sz="10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электронный</a:t>
            </a:r>
            <a:r>
              <a:rPr sz="10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документ </a:t>
            </a:r>
            <a:r>
              <a:rPr sz="1000" spc="-254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УПД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в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 формате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доп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 или счфдоп)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 вывод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из</a:t>
            </a:r>
            <a:r>
              <a:rPr sz="10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оборота</a:t>
            </a:r>
            <a:r>
              <a:rPr sz="10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по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причинам, не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связанным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с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продажей через</a:t>
            </a:r>
            <a:r>
              <a:rPr sz="10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10" dirty="0">
                <a:solidFill>
                  <a:srgbClr val="6D6E71"/>
                </a:solidFill>
                <a:latin typeface="Segoe UI"/>
                <a:cs typeface="Segoe UI"/>
              </a:rPr>
              <a:t>ККТ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в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 объемно-сортовом виде</a:t>
            </a:r>
            <a:endParaRPr sz="1000">
              <a:latin typeface="Segoe UI"/>
              <a:cs typeface="Segoe UI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1938182" y="5212304"/>
            <a:ext cx="9738360" cy="279400"/>
            <a:chOff x="1938182" y="5212304"/>
            <a:chExt cx="9738360" cy="279400"/>
          </a:xfrm>
        </p:grpSpPr>
        <p:sp>
          <p:nvSpPr>
            <p:cNvPr id="9" name="object 9"/>
            <p:cNvSpPr/>
            <p:nvPr/>
          </p:nvSpPr>
          <p:spPr>
            <a:xfrm>
              <a:off x="1938182" y="5313690"/>
              <a:ext cx="9738360" cy="76200"/>
            </a:xfrm>
            <a:custGeom>
              <a:avLst/>
              <a:gdLst/>
              <a:ahLst/>
              <a:cxnLst/>
              <a:rect l="l" t="t" r="r" b="b"/>
              <a:pathLst>
                <a:path w="9738360" h="76200">
                  <a:moveTo>
                    <a:pt x="25400" y="25398"/>
                  </a:moveTo>
                  <a:lnTo>
                    <a:pt x="0" y="25398"/>
                  </a:lnTo>
                  <a:lnTo>
                    <a:pt x="0" y="50798"/>
                  </a:lnTo>
                  <a:lnTo>
                    <a:pt x="25400" y="50798"/>
                  </a:lnTo>
                  <a:lnTo>
                    <a:pt x="25400" y="25398"/>
                  </a:lnTo>
                  <a:close/>
                </a:path>
                <a:path w="9738360" h="76200">
                  <a:moveTo>
                    <a:pt x="76200" y="25398"/>
                  </a:moveTo>
                  <a:lnTo>
                    <a:pt x="50800" y="25398"/>
                  </a:lnTo>
                  <a:lnTo>
                    <a:pt x="50800" y="50798"/>
                  </a:lnTo>
                  <a:lnTo>
                    <a:pt x="76200" y="50798"/>
                  </a:lnTo>
                  <a:lnTo>
                    <a:pt x="76200" y="25398"/>
                  </a:lnTo>
                  <a:close/>
                </a:path>
                <a:path w="9738360" h="76200">
                  <a:moveTo>
                    <a:pt x="127000" y="25398"/>
                  </a:moveTo>
                  <a:lnTo>
                    <a:pt x="101600" y="25398"/>
                  </a:lnTo>
                  <a:lnTo>
                    <a:pt x="101600" y="50798"/>
                  </a:lnTo>
                  <a:lnTo>
                    <a:pt x="127000" y="50798"/>
                  </a:lnTo>
                  <a:lnTo>
                    <a:pt x="127000" y="25398"/>
                  </a:lnTo>
                  <a:close/>
                </a:path>
                <a:path w="9738360" h="76200">
                  <a:moveTo>
                    <a:pt x="177800" y="25398"/>
                  </a:moveTo>
                  <a:lnTo>
                    <a:pt x="152400" y="25398"/>
                  </a:lnTo>
                  <a:lnTo>
                    <a:pt x="152400" y="50798"/>
                  </a:lnTo>
                  <a:lnTo>
                    <a:pt x="177800" y="50798"/>
                  </a:lnTo>
                  <a:lnTo>
                    <a:pt x="177800" y="25398"/>
                  </a:lnTo>
                  <a:close/>
                </a:path>
                <a:path w="9738360" h="76200">
                  <a:moveTo>
                    <a:pt x="228600" y="25398"/>
                  </a:moveTo>
                  <a:lnTo>
                    <a:pt x="203200" y="25398"/>
                  </a:lnTo>
                  <a:lnTo>
                    <a:pt x="203200" y="50798"/>
                  </a:lnTo>
                  <a:lnTo>
                    <a:pt x="228600" y="50798"/>
                  </a:lnTo>
                  <a:lnTo>
                    <a:pt x="228600" y="25398"/>
                  </a:lnTo>
                  <a:close/>
                </a:path>
                <a:path w="9738360" h="76200">
                  <a:moveTo>
                    <a:pt x="279400" y="25398"/>
                  </a:moveTo>
                  <a:lnTo>
                    <a:pt x="254000" y="25398"/>
                  </a:lnTo>
                  <a:lnTo>
                    <a:pt x="254000" y="50798"/>
                  </a:lnTo>
                  <a:lnTo>
                    <a:pt x="279400" y="50798"/>
                  </a:lnTo>
                  <a:lnTo>
                    <a:pt x="279400" y="25398"/>
                  </a:lnTo>
                  <a:close/>
                </a:path>
                <a:path w="9738360" h="76200">
                  <a:moveTo>
                    <a:pt x="330200" y="25398"/>
                  </a:moveTo>
                  <a:lnTo>
                    <a:pt x="304800" y="25398"/>
                  </a:lnTo>
                  <a:lnTo>
                    <a:pt x="304800" y="50798"/>
                  </a:lnTo>
                  <a:lnTo>
                    <a:pt x="330200" y="50798"/>
                  </a:lnTo>
                  <a:lnTo>
                    <a:pt x="330200" y="25398"/>
                  </a:lnTo>
                  <a:close/>
                </a:path>
                <a:path w="9738360" h="76200">
                  <a:moveTo>
                    <a:pt x="381000" y="25398"/>
                  </a:moveTo>
                  <a:lnTo>
                    <a:pt x="355600" y="25398"/>
                  </a:lnTo>
                  <a:lnTo>
                    <a:pt x="355600" y="50798"/>
                  </a:lnTo>
                  <a:lnTo>
                    <a:pt x="381000" y="50798"/>
                  </a:lnTo>
                  <a:lnTo>
                    <a:pt x="381000" y="25398"/>
                  </a:lnTo>
                  <a:close/>
                </a:path>
                <a:path w="9738360" h="76200">
                  <a:moveTo>
                    <a:pt x="431800" y="25398"/>
                  </a:moveTo>
                  <a:lnTo>
                    <a:pt x="406400" y="25398"/>
                  </a:lnTo>
                  <a:lnTo>
                    <a:pt x="406400" y="50798"/>
                  </a:lnTo>
                  <a:lnTo>
                    <a:pt x="431800" y="50798"/>
                  </a:lnTo>
                  <a:lnTo>
                    <a:pt x="431800" y="25398"/>
                  </a:lnTo>
                  <a:close/>
                </a:path>
                <a:path w="9738360" h="76200">
                  <a:moveTo>
                    <a:pt x="482600" y="25398"/>
                  </a:moveTo>
                  <a:lnTo>
                    <a:pt x="457200" y="25398"/>
                  </a:lnTo>
                  <a:lnTo>
                    <a:pt x="457200" y="50798"/>
                  </a:lnTo>
                  <a:lnTo>
                    <a:pt x="482600" y="50798"/>
                  </a:lnTo>
                  <a:lnTo>
                    <a:pt x="482600" y="25398"/>
                  </a:lnTo>
                  <a:close/>
                </a:path>
                <a:path w="9738360" h="76200">
                  <a:moveTo>
                    <a:pt x="533400" y="25398"/>
                  </a:moveTo>
                  <a:lnTo>
                    <a:pt x="508000" y="25398"/>
                  </a:lnTo>
                  <a:lnTo>
                    <a:pt x="508000" y="50798"/>
                  </a:lnTo>
                  <a:lnTo>
                    <a:pt x="533400" y="50798"/>
                  </a:lnTo>
                  <a:lnTo>
                    <a:pt x="533400" y="25398"/>
                  </a:lnTo>
                  <a:close/>
                </a:path>
                <a:path w="9738360" h="76200">
                  <a:moveTo>
                    <a:pt x="584200" y="25398"/>
                  </a:moveTo>
                  <a:lnTo>
                    <a:pt x="558800" y="25398"/>
                  </a:lnTo>
                  <a:lnTo>
                    <a:pt x="558800" y="50798"/>
                  </a:lnTo>
                  <a:lnTo>
                    <a:pt x="584200" y="50798"/>
                  </a:lnTo>
                  <a:lnTo>
                    <a:pt x="584200" y="25398"/>
                  </a:lnTo>
                  <a:close/>
                </a:path>
                <a:path w="9738360" h="76200">
                  <a:moveTo>
                    <a:pt x="635000" y="25398"/>
                  </a:moveTo>
                  <a:lnTo>
                    <a:pt x="609600" y="25398"/>
                  </a:lnTo>
                  <a:lnTo>
                    <a:pt x="609600" y="50798"/>
                  </a:lnTo>
                  <a:lnTo>
                    <a:pt x="635000" y="50798"/>
                  </a:lnTo>
                  <a:lnTo>
                    <a:pt x="635000" y="25398"/>
                  </a:lnTo>
                  <a:close/>
                </a:path>
                <a:path w="9738360" h="76200">
                  <a:moveTo>
                    <a:pt x="685800" y="25398"/>
                  </a:moveTo>
                  <a:lnTo>
                    <a:pt x="660400" y="25398"/>
                  </a:lnTo>
                  <a:lnTo>
                    <a:pt x="660400" y="50798"/>
                  </a:lnTo>
                  <a:lnTo>
                    <a:pt x="685800" y="50798"/>
                  </a:lnTo>
                  <a:lnTo>
                    <a:pt x="685800" y="25398"/>
                  </a:lnTo>
                  <a:close/>
                </a:path>
                <a:path w="9738360" h="76200">
                  <a:moveTo>
                    <a:pt x="736600" y="25398"/>
                  </a:moveTo>
                  <a:lnTo>
                    <a:pt x="711200" y="25398"/>
                  </a:lnTo>
                  <a:lnTo>
                    <a:pt x="711200" y="50798"/>
                  </a:lnTo>
                  <a:lnTo>
                    <a:pt x="736600" y="50798"/>
                  </a:lnTo>
                  <a:lnTo>
                    <a:pt x="736600" y="25398"/>
                  </a:lnTo>
                  <a:close/>
                </a:path>
                <a:path w="9738360" h="76200">
                  <a:moveTo>
                    <a:pt x="787400" y="25398"/>
                  </a:moveTo>
                  <a:lnTo>
                    <a:pt x="762000" y="25398"/>
                  </a:lnTo>
                  <a:lnTo>
                    <a:pt x="762000" y="50798"/>
                  </a:lnTo>
                  <a:lnTo>
                    <a:pt x="787400" y="50798"/>
                  </a:lnTo>
                  <a:lnTo>
                    <a:pt x="787400" y="25398"/>
                  </a:lnTo>
                  <a:close/>
                </a:path>
                <a:path w="9738360" h="76200">
                  <a:moveTo>
                    <a:pt x="838200" y="25398"/>
                  </a:moveTo>
                  <a:lnTo>
                    <a:pt x="812800" y="25398"/>
                  </a:lnTo>
                  <a:lnTo>
                    <a:pt x="812800" y="50798"/>
                  </a:lnTo>
                  <a:lnTo>
                    <a:pt x="838200" y="50798"/>
                  </a:lnTo>
                  <a:lnTo>
                    <a:pt x="838200" y="25398"/>
                  </a:lnTo>
                  <a:close/>
                </a:path>
                <a:path w="9738360" h="76200">
                  <a:moveTo>
                    <a:pt x="889000" y="25398"/>
                  </a:moveTo>
                  <a:lnTo>
                    <a:pt x="863600" y="25398"/>
                  </a:lnTo>
                  <a:lnTo>
                    <a:pt x="863600" y="50798"/>
                  </a:lnTo>
                  <a:lnTo>
                    <a:pt x="889000" y="50798"/>
                  </a:lnTo>
                  <a:lnTo>
                    <a:pt x="889000" y="25398"/>
                  </a:lnTo>
                  <a:close/>
                </a:path>
                <a:path w="9738360" h="76200">
                  <a:moveTo>
                    <a:pt x="939800" y="25398"/>
                  </a:moveTo>
                  <a:lnTo>
                    <a:pt x="914400" y="25398"/>
                  </a:lnTo>
                  <a:lnTo>
                    <a:pt x="914400" y="50798"/>
                  </a:lnTo>
                  <a:lnTo>
                    <a:pt x="939800" y="50798"/>
                  </a:lnTo>
                  <a:lnTo>
                    <a:pt x="939800" y="25398"/>
                  </a:lnTo>
                  <a:close/>
                </a:path>
                <a:path w="9738360" h="76200">
                  <a:moveTo>
                    <a:pt x="990600" y="25398"/>
                  </a:moveTo>
                  <a:lnTo>
                    <a:pt x="965200" y="25398"/>
                  </a:lnTo>
                  <a:lnTo>
                    <a:pt x="965200" y="50798"/>
                  </a:lnTo>
                  <a:lnTo>
                    <a:pt x="990600" y="50798"/>
                  </a:lnTo>
                  <a:lnTo>
                    <a:pt x="990600" y="25398"/>
                  </a:lnTo>
                  <a:close/>
                </a:path>
                <a:path w="9738360" h="76200">
                  <a:moveTo>
                    <a:pt x="1041400" y="25398"/>
                  </a:moveTo>
                  <a:lnTo>
                    <a:pt x="1016000" y="25398"/>
                  </a:lnTo>
                  <a:lnTo>
                    <a:pt x="1016000" y="50798"/>
                  </a:lnTo>
                  <a:lnTo>
                    <a:pt x="1041400" y="50798"/>
                  </a:lnTo>
                  <a:lnTo>
                    <a:pt x="1041400" y="25398"/>
                  </a:lnTo>
                  <a:close/>
                </a:path>
                <a:path w="9738360" h="76200">
                  <a:moveTo>
                    <a:pt x="1092200" y="25398"/>
                  </a:moveTo>
                  <a:lnTo>
                    <a:pt x="1066800" y="25398"/>
                  </a:lnTo>
                  <a:lnTo>
                    <a:pt x="1066800" y="50798"/>
                  </a:lnTo>
                  <a:lnTo>
                    <a:pt x="1092200" y="50798"/>
                  </a:lnTo>
                  <a:lnTo>
                    <a:pt x="1092200" y="25398"/>
                  </a:lnTo>
                  <a:close/>
                </a:path>
                <a:path w="9738360" h="76200">
                  <a:moveTo>
                    <a:pt x="1143000" y="25398"/>
                  </a:moveTo>
                  <a:lnTo>
                    <a:pt x="1117600" y="25398"/>
                  </a:lnTo>
                  <a:lnTo>
                    <a:pt x="1117600" y="50798"/>
                  </a:lnTo>
                  <a:lnTo>
                    <a:pt x="1143000" y="50798"/>
                  </a:lnTo>
                  <a:lnTo>
                    <a:pt x="1143000" y="25398"/>
                  </a:lnTo>
                  <a:close/>
                </a:path>
                <a:path w="9738360" h="76200">
                  <a:moveTo>
                    <a:pt x="1193800" y="25398"/>
                  </a:moveTo>
                  <a:lnTo>
                    <a:pt x="1168400" y="25398"/>
                  </a:lnTo>
                  <a:lnTo>
                    <a:pt x="1168400" y="50798"/>
                  </a:lnTo>
                  <a:lnTo>
                    <a:pt x="1193800" y="50798"/>
                  </a:lnTo>
                  <a:lnTo>
                    <a:pt x="1193800" y="25398"/>
                  </a:lnTo>
                  <a:close/>
                </a:path>
                <a:path w="9738360" h="76200">
                  <a:moveTo>
                    <a:pt x="1244600" y="25398"/>
                  </a:moveTo>
                  <a:lnTo>
                    <a:pt x="1219200" y="25398"/>
                  </a:lnTo>
                  <a:lnTo>
                    <a:pt x="1219200" y="50798"/>
                  </a:lnTo>
                  <a:lnTo>
                    <a:pt x="1244600" y="50798"/>
                  </a:lnTo>
                  <a:lnTo>
                    <a:pt x="1244600" y="25398"/>
                  </a:lnTo>
                  <a:close/>
                </a:path>
                <a:path w="9738360" h="76200">
                  <a:moveTo>
                    <a:pt x="1295400" y="25398"/>
                  </a:moveTo>
                  <a:lnTo>
                    <a:pt x="1270000" y="25398"/>
                  </a:lnTo>
                  <a:lnTo>
                    <a:pt x="1270000" y="50798"/>
                  </a:lnTo>
                  <a:lnTo>
                    <a:pt x="1295400" y="50798"/>
                  </a:lnTo>
                  <a:lnTo>
                    <a:pt x="1295400" y="25398"/>
                  </a:lnTo>
                  <a:close/>
                </a:path>
                <a:path w="9738360" h="76200">
                  <a:moveTo>
                    <a:pt x="1346200" y="25398"/>
                  </a:moveTo>
                  <a:lnTo>
                    <a:pt x="1320800" y="25398"/>
                  </a:lnTo>
                  <a:lnTo>
                    <a:pt x="1320800" y="50798"/>
                  </a:lnTo>
                  <a:lnTo>
                    <a:pt x="1346200" y="50798"/>
                  </a:lnTo>
                  <a:lnTo>
                    <a:pt x="1346200" y="25398"/>
                  </a:lnTo>
                  <a:close/>
                </a:path>
                <a:path w="9738360" h="76200">
                  <a:moveTo>
                    <a:pt x="1397000" y="25398"/>
                  </a:moveTo>
                  <a:lnTo>
                    <a:pt x="1371600" y="25398"/>
                  </a:lnTo>
                  <a:lnTo>
                    <a:pt x="1371600" y="50798"/>
                  </a:lnTo>
                  <a:lnTo>
                    <a:pt x="1397000" y="50798"/>
                  </a:lnTo>
                  <a:lnTo>
                    <a:pt x="1397000" y="25398"/>
                  </a:lnTo>
                  <a:close/>
                </a:path>
                <a:path w="9738360" h="76200">
                  <a:moveTo>
                    <a:pt x="1447800" y="25398"/>
                  </a:moveTo>
                  <a:lnTo>
                    <a:pt x="1422400" y="25398"/>
                  </a:lnTo>
                  <a:lnTo>
                    <a:pt x="1422400" y="50798"/>
                  </a:lnTo>
                  <a:lnTo>
                    <a:pt x="1447800" y="50798"/>
                  </a:lnTo>
                  <a:lnTo>
                    <a:pt x="1447800" y="25398"/>
                  </a:lnTo>
                  <a:close/>
                </a:path>
                <a:path w="9738360" h="76200">
                  <a:moveTo>
                    <a:pt x="1498600" y="25398"/>
                  </a:moveTo>
                  <a:lnTo>
                    <a:pt x="1473200" y="25398"/>
                  </a:lnTo>
                  <a:lnTo>
                    <a:pt x="1473200" y="50798"/>
                  </a:lnTo>
                  <a:lnTo>
                    <a:pt x="1498600" y="50798"/>
                  </a:lnTo>
                  <a:lnTo>
                    <a:pt x="1498600" y="25398"/>
                  </a:lnTo>
                  <a:close/>
                </a:path>
                <a:path w="9738360" h="76200">
                  <a:moveTo>
                    <a:pt x="1549400" y="25398"/>
                  </a:moveTo>
                  <a:lnTo>
                    <a:pt x="1524000" y="25398"/>
                  </a:lnTo>
                  <a:lnTo>
                    <a:pt x="1524000" y="50798"/>
                  </a:lnTo>
                  <a:lnTo>
                    <a:pt x="1549400" y="50798"/>
                  </a:lnTo>
                  <a:lnTo>
                    <a:pt x="1549400" y="25398"/>
                  </a:lnTo>
                  <a:close/>
                </a:path>
                <a:path w="9738360" h="76200">
                  <a:moveTo>
                    <a:pt x="1600200" y="25398"/>
                  </a:moveTo>
                  <a:lnTo>
                    <a:pt x="1574800" y="25398"/>
                  </a:lnTo>
                  <a:lnTo>
                    <a:pt x="1574800" y="50798"/>
                  </a:lnTo>
                  <a:lnTo>
                    <a:pt x="1600200" y="50798"/>
                  </a:lnTo>
                  <a:lnTo>
                    <a:pt x="1600200" y="25398"/>
                  </a:lnTo>
                  <a:close/>
                </a:path>
                <a:path w="9738360" h="76200">
                  <a:moveTo>
                    <a:pt x="1651000" y="25398"/>
                  </a:moveTo>
                  <a:lnTo>
                    <a:pt x="1625600" y="25398"/>
                  </a:lnTo>
                  <a:lnTo>
                    <a:pt x="1625600" y="50798"/>
                  </a:lnTo>
                  <a:lnTo>
                    <a:pt x="1651000" y="50798"/>
                  </a:lnTo>
                  <a:lnTo>
                    <a:pt x="1651000" y="25398"/>
                  </a:lnTo>
                  <a:close/>
                </a:path>
                <a:path w="9738360" h="76200">
                  <a:moveTo>
                    <a:pt x="1701800" y="25398"/>
                  </a:moveTo>
                  <a:lnTo>
                    <a:pt x="1676400" y="25398"/>
                  </a:lnTo>
                  <a:lnTo>
                    <a:pt x="1676400" y="50798"/>
                  </a:lnTo>
                  <a:lnTo>
                    <a:pt x="1701800" y="50798"/>
                  </a:lnTo>
                  <a:lnTo>
                    <a:pt x="1701800" y="25398"/>
                  </a:lnTo>
                  <a:close/>
                </a:path>
                <a:path w="9738360" h="76200">
                  <a:moveTo>
                    <a:pt x="1752600" y="25398"/>
                  </a:moveTo>
                  <a:lnTo>
                    <a:pt x="1727200" y="25398"/>
                  </a:lnTo>
                  <a:lnTo>
                    <a:pt x="1727200" y="50798"/>
                  </a:lnTo>
                  <a:lnTo>
                    <a:pt x="1752600" y="50798"/>
                  </a:lnTo>
                  <a:lnTo>
                    <a:pt x="1752600" y="25398"/>
                  </a:lnTo>
                  <a:close/>
                </a:path>
                <a:path w="9738360" h="76200">
                  <a:moveTo>
                    <a:pt x="1803400" y="25398"/>
                  </a:moveTo>
                  <a:lnTo>
                    <a:pt x="1778000" y="25398"/>
                  </a:lnTo>
                  <a:lnTo>
                    <a:pt x="1778000" y="50798"/>
                  </a:lnTo>
                  <a:lnTo>
                    <a:pt x="1803400" y="50798"/>
                  </a:lnTo>
                  <a:lnTo>
                    <a:pt x="1803400" y="25398"/>
                  </a:lnTo>
                  <a:close/>
                </a:path>
                <a:path w="9738360" h="76200">
                  <a:moveTo>
                    <a:pt x="1854200" y="25398"/>
                  </a:moveTo>
                  <a:lnTo>
                    <a:pt x="1828800" y="25398"/>
                  </a:lnTo>
                  <a:lnTo>
                    <a:pt x="1828800" y="50798"/>
                  </a:lnTo>
                  <a:lnTo>
                    <a:pt x="1854200" y="50798"/>
                  </a:lnTo>
                  <a:lnTo>
                    <a:pt x="1854200" y="25398"/>
                  </a:lnTo>
                  <a:close/>
                </a:path>
                <a:path w="9738360" h="76200">
                  <a:moveTo>
                    <a:pt x="1905000" y="25398"/>
                  </a:moveTo>
                  <a:lnTo>
                    <a:pt x="1879600" y="25398"/>
                  </a:lnTo>
                  <a:lnTo>
                    <a:pt x="1879600" y="50798"/>
                  </a:lnTo>
                  <a:lnTo>
                    <a:pt x="1905000" y="50798"/>
                  </a:lnTo>
                  <a:lnTo>
                    <a:pt x="1905000" y="25398"/>
                  </a:lnTo>
                  <a:close/>
                </a:path>
                <a:path w="9738360" h="76200">
                  <a:moveTo>
                    <a:pt x="1955800" y="25398"/>
                  </a:moveTo>
                  <a:lnTo>
                    <a:pt x="1930400" y="25398"/>
                  </a:lnTo>
                  <a:lnTo>
                    <a:pt x="1930400" y="50798"/>
                  </a:lnTo>
                  <a:lnTo>
                    <a:pt x="1955800" y="50798"/>
                  </a:lnTo>
                  <a:lnTo>
                    <a:pt x="1955800" y="25398"/>
                  </a:lnTo>
                  <a:close/>
                </a:path>
                <a:path w="9738360" h="76200">
                  <a:moveTo>
                    <a:pt x="2006600" y="25398"/>
                  </a:moveTo>
                  <a:lnTo>
                    <a:pt x="1981200" y="25398"/>
                  </a:lnTo>
                  <a:lnTo>
                    <a:pt x="1981200" y="50798"/>
                  </a:lnTo>
                  <a:lnTo>
                    <a:pt x="2006600" y="50798"/>
                  </a:lnTo>
                  <a:lnTo>
                    <a:pt x="2006600" y="25398"/>
                  </a:lnTo>
                  <a:close/>
                </a:path>
                <a:path w="9738360" h="76200">
                  <a:moveTo>
                    <a:pt x="2057400" y="25398"/>
                  </a:moveTo>
                  <a:lnTo>
                    <a:pt x="2032000" y="25398"/>
                  </a:lnTo>
                  <a:lnTo>
                    <a:pt x="2032000" y="50798"/>
                  </a:lnTo>
                  <a:lnTo>
                    <a:pt x="2057400" y="50798"/>
                  </a:lnTo>
                  <a:lnTo>
                    <a:pt x="2057400" y="25398"/>
                  </a:lnTo>
                  <a:close/>
                </a:path>
                <a:path w="9738360" h="76200">
                  <a:moveTo>
                    <a:pt x="2108200" y="25398"/>
                  </a:moveTo>
                  <a:lnTo>
                    <a:pt x="2082800" y="25398"/>
                  </a:lnTo>
                  <a:lnTo>
                    <a:pt x="2082800" y="50798"/>
                  </a:lnTo>
                  <a:lnTo>
                    <a:pt x="2108200" y="50798"/>
                  </a:lnTo>
                  <a:lnTo>
                    <a:pt x="2108200" y="25398"/>
                  </a:lnTo>
                  <a:close/>
                </a:path>
                <a:path w="9738360" h="76200">
                  <a:moveTo>
                    <a:pt x="2159000" y="25398"/>
                  </a:moveTo>
                  <a:lnTo>
                    <a:pt x="2133600" y="25398"/>
                  </a:lnTo>
                  <a:lnTo>
                    <a:pt x="2133600" y="50798"/>
                  </a:lnTo>
                  <a:lnTo>
                    <a:pt x="2159000" y="50798"/>
                  </a:lnTo>
                  <a:lnTo>
                    <a:pt x="2159000" y="25398"/>
                  </a:lnTo>
                  <a:close/>
                </a:path>
                <a:path w="9738360" h="76200">
                  <a:moveTo>
                    <a:pt x="2209800" y="25398"/>
                  </a:moveTo>
                  <a:lnTo>
                    <a:pt x="2184400" y="25398"/>
                  </a:lnTo>
                  <a:lnTo>
                    <a:pt x="2184400" y="50798"/>
                  </a:lnTo>
                  <a:lnTo>
                    <a:pt x="2209800" y="50798"/>
                  </a:lnTo>
                  <a:lnTo>
                    <a:pt x="2209800" y="25398"/>
                  </a:lnTo>
                  <a:close/>
                </a:path>
                <a:path w="9738360" h="76200">
                  <a:moveTo>
                    <a:pt x="2260600" y="25398"/>
                  </a:moveTo>
                  <a:lnTo>
                    <a:pt x="2235200" y="25398"/>
                  </a:lnTo>
                  <a:lnTo>
                    <a:pt x="2235200" y="50798"/>
                  </a:lnTo>
                  <a:lnTo>
                    <a:pt x="2260600" y="50798"/>
                  </a:lnTo>
                  <a:lnTo>
                    <a:pt x="2260600" y="25398"/>
                  </a:lnTo>
                  <a:close/>
                </a:path>
                <a:path w="9738360" h="76200">
                  <a:moveTo>
                    <a:pt x="2311400" y="25398"/>
                  </a:moveTo>
                  <a:lnTo>
                    <a:pt x="2286000" y="25398"/>
                  </a:lnTo>
                  <a:lnTo>
                    <a:pt x="2286000" y="50798"/>
                  </a:lnTo>
                  <a:lnTo>
                    <a:pt x="2311400" y="50798"/>
                  </a:lnTo>
                  <a:lnTo>
                    <a:pt x="2311400" y="25398"/>
                  </a:lnTo>
                  <a:close/>
                </a:path>
                <a:path w="9738360" h="76200">
                  <a:moveTo>
                    <a:pt x="2362200" y="25398"/>
                  </a:moveTo>
                  <a:lnTo>
                    <a:pt x="2336800" y="25398"/>
                  </a:lnTo>
                  <a:lnTo>
                    <a:pt x="2336800" y="50798"/>
                  </a:lnTo>
                  <a:lnTo>
                    <a:pt x="2362200" y="50798"/>
                  </a:lnTo>
                  <a:lnTo>
                    <a:pt x="2362200" y="25398"/>
                  </a:lnTo>
                  <a:close/>
                </a:path>
                <a:path w="9738360" h="76200">
                  <a:moveTo>
                    <a:pt x="2413000" y="25398"/>
                  </a:moveTo>
                  <a:lnTo>
                    <a:pt x="2387600" y="25398"/>
                  </a:lnTo>
                  <a:lnTo>
                    <a:pt x="2387600" y="50798"/>
                  </a:lnTo>
                  <a:lnTo>
                    <a:pt x="2413000" y="50798"/>
                  </a:lnTo>
                  <a:lnTo>
                    <a:pt x="2413000" y="25398"/>
                  </a:lnTo>
                  <a:close/>
                </a:path>
                <a:path w="9738360" h="76200">
                  <a:moveTo>
                    <a:pt x="2463800" y="25398"/>
                  </a:moveTo>
                  <a:lnTo>
                    <a:pt x="2438400" y="25398"/>
                  </a:lnTo>
                  <a:lnTo>
                    <a:pt x="2438400" y="50798"/>
                  </a:lnTo>
                  <a:lnTo>
                    <a:pt x="2463800" y="50798"/>
                  </a:lnTo>
                  <a:lnTo>
                    <a:pt x="2463800" y="25398"/>
                  </a:lnTo>
                  <a:close/>
                </a:path>
                <a:path w="9738360" h="76200">
                  <a:moveTo>
                    <a:pt x="2514600" y="25398"/>
                  </a:moveTo>
                  <a:lnTo>
                    <a:pt x="2489200" y="25398"/>
                  </a:lnTo>
                  <a:lnTo>
                    <a:pt x="2489200" y="50798"/>
                  </a:lnTo>
                  <a:lnTo>
                    <a:pt x="2514600" y="50798"/>
                  </a:lnTo>
                  <a:lnTo>
                    <a:pt x="2514600" y="25398"/>
                  </a:lnTo>
                  <a:close/>
                </a:path>
                <a:path w="9738360" h="76200">
                  <a:moveTo>
                    <a:pt x="2565400" y="25398"/>
                  </a:moveTo>
                  <a:lnTo>
                    <a:pt x="2540000" y="25398"/>
                  </a:lnTo>
                  <a:lnTo>
                    <a:pt x="2540000" y="50798"/>
                  </a:lnTo>
                  <a:lnTo>
                    <a:pt x="2565400" y="50798"/>
                  </a:lnTo>
                  <a:lnTo>
                    <a:pt x="2565400" y="25398"/>
                  </a:lnTo>
                  <a:close/>
                </a:path>
                <a:path w="9738360" h="76200">
                  <a:moveTo>
                    <a:pt x="2616200" y="25398"/>
                  </a:moveTo>
                  <a:lnTo>
                    <a:pt x="2590800" y="25398"/>
                  </a:lnTo>
                  <a:lnTo>
                    <a:pt x="2590800" y="50798"/>
                  </a:lnTo>
                  <a:lnTo>
                    <a:pt x="2616200" y="50798"/>
                  </a:lnTo>
                  <a:lnTo>
                    <a:pt x="2616200" y="25398"/>
                  </a:lnTo>
                  <a:close/>
                </a:path>
                <a:path w="9738360" h="76200">
                  <a:moveTo>
                    <a:pt x="2667000" y="25398"/>
                  </a:moveTo>
                  <a:lnTo>
                    <a:pt x="2641600" y="25398"/>
                  </a:lnTo>
                  <a:lnTo>
                    <a:pt x="2641600" y="50798"/>
                  </a:lnTo>
                  <a:lnTo>
                    <a:pt x="2667000" y="50798"/>
                  </a:lnTo>
                  <a:lnTo>
                    <a:pt x="2667000" y="25398"/>
                  </a:lnTo>
                  <a:close/>
                </a:path>
                <a:path w="9738360" h="76200">
                  <a:moveTo>
                    <a:pt x="2717800" y="25398"/>
                  </a:moveTo>
                  <a:lnTo>
                    <a:pt x="2692400" y="25398"/>
                  </a:lnTo>
                  <a:lnTo>
                    <a:pt x="2692400" y="50798"/>
                  </a:lnTo>
                  <a:lnTo>
                    <a:pt x="2717800" y="50798"/>
                  </a:lnTo>
                  <a:lnTo>
                    <a:pt x="2717800" y="25398"/>
                  </a:lnTo>
                  <a:close/>
                </a:path>
                <a:path w="9738360" h="76200">
                  <a:moveTo>
                    <a:pt x="2768600" y="25398"/>
                  </a:moveTo>
                  <a:lnTo>
                    <a:pt x="2743200" y="25398"/>
                  </a:lnTo>
                  <a:lnTo>
                    <a:pt x="2743200" y="50798"/>
                  </a:lnTo>
                  <a:lnTo>
                    <a:pt x="2768600" y="50798"/>
                  </a:lnTo>
                  <a:lnTo>
                    <a:pt x="2768600" y="25398"/>
                  </a:lnTo>
                  <a:close/>
                </a:path>
                <a:path w="9738360" h="76200">
                  <a:moveTo>
                    <a:pt x="2819400" y="25398"/>
                  </a:moveTo>
                  <a:lnTo>
                    <a:pt x="2794000" y="25398"/>
                  </a:lnTo>
                  <a:lnTo>
                    <a:pt x="2794000" y="50798"/>
                  </a:lnTo>
                  <a:lnTo>
                    <a:pt x="2819400" y="50798"/>
                  </a:lnTo>
                  <a:lnTo>
                    <a:pt x="2819400" y="25398"/>
                  </a:lnTo>
                  <a:close/>
                </a:path>
                <a:path w="9738360" h="76200">
                  <a:moveTo>
                    <a:pt x="2870200" y="25398"/>
                  </a:moveTo>
                  <a:lnTo>
                    <a:pt x="2844800" y="25398"/>
                  </a:lnTo>
                  <a:lnTo>
                    <a:pt x="2844800" y="50798"/>
                  </a:lnTo>
                  <a:lnTo>
                    <a:pt x="2870200" y="50798"/>
                  </a:lnTo>
                  <a:lnTo>
                    <a:pt x="2870200" y="25398"/>
                  </a:lnTo>
                  <a:close/>
                </a:path>
                <a:path w="9738360" h="76200">
                  <a:moveTo>
                    <a:pt x="2921000" y="25398"/>
                  </a:moveTo>
                  <a:lnTo>
                    <a:pt x="2895600" y="25398"/>
                  </a:lnTo>
                  <a:lnTo>
                    <a:pt x="2895600" y="50798"/>
                  </a:lnTo>
                  <a:lnTo>
                    <a:pt x="2921000" y="50798"/>
                  </a:lnTo>
                  <a:lnTo>
                    <a:pt x="2921000" y="25398"/>
                  </a:lnTo>
                  <a:close/>
                </a:path>
                <a:path w="9738360" h="76200">
                  <a:moveTo>
                    <a:pt x="2971800" y="25398"/>
                  </a:moveTo>
                  <a:lnTo>
                    <a:pt x="2946400" y="25398"/>
                  </a:lnTo>
                  <a:lnTo>
                    <a:pt x="2946400" y="50798"/>
                  </a:lnTo>
                  <a:lnTo>
                    <a:pt x="2971800" y="50798"/>
                  </a:lnTo>
                  <a:lnTo>
                    <a:pt x="2971800" y="25398"/>
                  </a:lnTo>
                  <a:close/>
                </a:path>
                <a:path w="9738360" h="76200">
                  <a:moveTo>
                    <a:pt x="3022600" y="25398"/>
                  </a:moveTo>
                  <a:lnTo>
                    <a:pt x="2997200" y="25398"/>
                  </a:lnTo>
                  <a:lnTo>
                    <a:pt x="2997200" y="50798"/>
                  </a:lnTo>
                  <a:lnTo>
                    <a:pt x="3022600" y="50798"/>
                  </a:lnTo>
                  <a:lnTo>
                    <a:pt x="3022600" y="25398"/>
                  </a:lnTo>
                  <a:close/>
                </a:path>
                <a:path w="9738360" h="76200">
                  <a:moveTo>
                    <a:pt x="3073400" y="25398"/>
                  </a:moveTo>
                  <a:lnTo>
                    <a:pt x="3048000" y="25398"/>
                  </a:lnTo>
                  <a:lnTo>
                    <a:pt x="3048000" y="50798"/>
                  </a:lnTo>
                  <a:lnTo>
                    <a:pt x="3073400" y="50798"/>
                  </a:lnTo>
                  <a:lnTo>
                    <a:pt x="3073400" y="25398"/>
                  </a:lnTo>
                  <a:close/>
                </a:path>
                <a:path w="9738360" h="76200">
                  <a:moveTo>
                    <a:pt x="3124200" y="25398"/>
                  </a:moveTo>
                  <a:lnTo>
                    <a:pt x="3098800" y="25398"/>
                  </a:lnTo>
                  <a:lnTo>
                    <a:pt x="3098800" y="50798"/>
                  </a:lnTo>
                  <a:lnTo>
                    <a:pt x="3124200" y="50798"/>
                  </a:lnTo>
                  <a:lnTo>
                    <a:pt x="3124200" y="25398"/>
                  </a:lnTo>
                  <a:close/>
                </a:path>
                <a:path w="9738360" h="76200">
                  <a:moveTo>
                    <a:pt x="3175000" y="25398"/>
                  </a:moveTo>
                  <a:lnTo>
                    <a:pt x="3149600" y="25398"/>
                  </a:lnTo>
                  <a:lnTo>
                    <a:pt x="3149600" y="50798"/>
                  </a:lnTo>
                  <a:lnTo>
                    <a:pt x="3175000" y="50798"/>
                  </a:lnTo>
                  <a:lnTo>
                    <a:pt x="3175000" y="25398"/>
                  </a:lnTo>
                  <a:close/>
                </a:path>
                <a:path w="9738360" h="76200">
                  <a:moveTo>
                    <a:pt x="3225800" y="25398"/>
                  </a:moveTo>
                  <a:lnTo>
                    <a:pt x="3200400" y="25398"/>
                  </a:lnTo>
                  <a:lnTo>
                    <a:pt x="3200400" y="50798"/>
                  </a:lnTo>
                  <a:lnTo>
                    <a:pt x="3225800" y="50798"/>
                  </a:lnTo>
                  <a:lnTo>
                    <a:pt x="3225800" y="25398"/>
                  </a:lnTo>
                  <a:close/>
                </a:path>
                <a:path w="9738360" h="76200">
                  <a:moveTo>
                    <a:pt x="3276600" y="25398"/>
                  </a:moveTo>
                  <a:lnTo>
                    <a:pt x="3251200" y="25398"/>
                  </a:lnTo>
                  <a:lnTo>
                    <a:pt x="3251200" y="50798"/>
                  </a:lnTo>
                  <a:lnTo>
                    <a:pt x="3276600" y="50798"/>
                  </a:lnTo>
                  <a:lnTo>
                    <a:pt x="3276600" y="25398"/>
                  </a:lnTo>
                  <a:close/>
                </a:path>
                <a:path w="9738360" h="76200">
                  <a:moveTo>
                    <a:pt x="3327400" y="25398"/>
                  </a:moveTo>
                  <a:lnTo>
                    <a:pt x="3302000" y="25398"/>
                  </a:lnTo>
                  <a:lnTo>
                    <a:pt x="3302000" y="50798"/>
                  </a:lnTo>
                  <a:lnTo>
                    <a:pt x="3327400" y="50798"/>
                  </a:lnTo>
                  <a:lnTo>
                    <a:pt x="3327400" y="25398"/>
                  </a:lnTo>
                  <a:close/>
                </a:path>
                <a:path w="9738360" h="76200">
                  <a:moveTo>
                    <a:pt x="3378200" y="25398"/>
                  </a:moveTo>
                  <a:lnTo>
                    <a:pt x="3352800" y="25398"/>
                  </a:lnTo>
                  <a:lnTo>
                    <a:pt x="3352800" y="50798"/>
                  </a:lnTo>
                  <a:lnTo>
                    <a:pt x="3378200" y="50798"/>
                  </a:lnTo>
                  <a:lnTo>
                    <a:pt x="3378200" y="25398"/>
                  </a:lnTo>
                  <a:close/>
                </a:path>
                <a:path w="9738360" h="76200">
                  <a:moveTo>
                    <a:pt x="3429000" y="25398"/>
                  </a:moveTo>
                  <a:lnTo>
                    <a:pt x="3403600" y="25398"/>
                  </a:lnTo>
                  <a:lnTo>
                    <a:pt x="3403600" y="50798"/>
                  </a:lnTo>
                  <a:lnTo>
                    <a:pt x="3429000" y="50798"/>
                  </a:lnTo>
                  <a:lnTo>
                    <a:pt x="3429000" y="25398"/>
                  </a:lnTo>
                  <a:close/>
                </a:path>
                <a:path w="9738360" h="76200">
                  <a:moveTo>
                    <a:pt x="3479800" y="25398"/>
                  </a:moveTo>
                  <a:lnTo>
                    <a:pt x="3454400" y="25398"/>
                  </a:lnTo>
                  <a:lnTo>
                    <a:pt x="3454400" y="50798"/>
                  </a:lnTo>
                  <a:lnTo>
                    <a:pt x="3479800" y="50798"/>
                  </a:lnTo>
                  <a:lnTo>
                    <a:pt x="3479800" y="25398"/>
                  </a:lnTo>
                  <a:close/>
                </a:path>
                <a:path w="9738360" h="76200">
                  <a:moveTo>
                    <a:pt x="3530600" y="25398"/>
                  </a:moveTo>
                  <a:lnTo>
                    <a:pt x="3505200" y="25398"/>
                  </a:lnTo>
                  <a:lnTo>
                    <a:pt x="3505200" y="50798"/>
                  </a:lnTo>
                  <a:lnTo>
                    <a:pt x="3530600" y="50798"/>
                  </a:lnTo>
                  <a:lnTo>
                    <a:pt x="3530600" y="25398"/>
                  </a:lnTo>
                  <a:close/>
                </a:path>
                <a:path w="9738360" h="76200">
                  <a:moveTo>
                    <a:pt x="3581400" y="25398"/>
                  </a:moveTo>
                  <a:lnTo>
                    <a:pt x="3556000" y="25398"/>
                  </a:lnTo>
                  <a:lnTo>
                    <a:pt x="3556000" y="50798"/>
                  </a:lnTo>
                  <a:lnTo>
                    <a:pt x="3581400" y="50798"/>
                  </a:lnTo>
                  <a:lnTo>
                    <a:pt x="3581400" y="25398"/>
                  </a:lnTo>
                  <a:close/>
                </a:path>
                <a:path w="9738360" h="76200">
                  <a:moveTo>
                    <a:pt x="3632200" y="25398"/>
                  </a:moveTo>
                  <a:lnTo>
                    <a:pt x="3606800" y="25398"/>
                  </a:lnTo>
                  <a:lnTo>
                    <a:pt x="3606800" y="50798"/>
                  </a:lnTo>
                  <a:lnTo>
                    <a:pt x="3632200" y="50798"/>
                  </a:lnTo>
                  <a:lnTo>
                    <a:pt x="3632200" y="25398"/>
                  </a:lnTo>
                  <a:close/>
                </a:path>
                <a:path w="9738360" h="76200">
                  <a:moveTo>
                    <a:pt x="3683000" y="25398"/>
                  </a:moveTo>
                  <a:lnTo>
                    <a:pt x="3657600" y="25398"/>
                  </a:lnTo>
                  <a:lnTo>
                    <a:pt x="3657600" y="50798"/>
                  </a:lnTo>
                  <a:lnTo>
                    <a:pt x="3683000" y="50798"/>
                  </a:lnTo>
                  <a:lnTo>
                    <a:pt x="3683000" y="25398"/>
                  </a:lnTo>
                  <a:close/>
                </a:path>
                <a:path w="9738360" h="76200">
                  <a:moveTo>
                    <a:pt x="3733800" y="25398"/>
                  </a:moveTo>
                  <a:lnTo>
                    <a:pt x="3708400" y="25398"/>
                  </a:lnTo>
                  <a:lnTo>
                    <a:pt x="3708400" y="50798"/>
                  </a:lnTo>
                  <a:lnTo>
                    <a:pt x="3733800" y="50798"/>
                  </a:lnTo>
                  <a:lnTo>
                    <a:pt x="3733800" y="25398"/>
                  </a:lnTo>
                  <a:close/>
                </a:path>
                <a:path w="9738360" h="76200">
                  <a:moveTo>
                    <a:pt x="3784600" y="25398"/>
                  </a:moveTo>
                  <a:lnTo>
                    <a:pt x="3759200" y="25398"/>
                  </a:lnTo>
                  <a:lnTo>
                    <a:pt x="3759200" y="50798"/>
                  </a:lnTo>
                  <a:lnTo>
                    <a:pt x="3784600" y="50798"/>
                  </a:lnTo>
                  <a:lnTo>
                    <a:pt x="3784600" y="25398"/>
                  </a:lnTo>
                  <a:close/>
                </a:path>
                <a:path w="9738360" h="76200">
                  <a:moveTo>
                    <a:pt x="3835400" y="25398"/>
                  </a:moveTo>
                  <a:lnTo>
                    <a:pt x="3810000" y="25398"/>
                  </a:lnTo>
                  <a:lnTo>
                    <a:pt x="3810000" y="50798"/>
                  </a:lnTo>
                  <a:lnTo>
                    <a:pt x="3835400" y="50798"/>
                  </a:lnTo>
                  <a:lnTo>
                    <a:pt x="3835400" y="25398"/>
                  </a:lnTo>
                  <a:close/>
                </a:path>
                <a:path w="9738360" h="76200">
                  <a:moveTo>
                    <a:pt x="3886200" y="25398"/>
                  </a:moveTo>
                  <a:lnTo>
                    <a:pt x="3860800" y="25398"/>
                  </a:lnTo>
                  <a:lnTo>
                    <a:pt x="3860800" y="50798"/>
                  </a:lnTo>
                  <a:lnTo>
                    <a:pt x="3886200" y="50798"/>
                  </a:lnTo>
                  <a:lnTo>
                    <a:pt x="3886200" y="25398"/>
                  </a:lnTo>
                  <a:close/>
                </a:path>
                <a:path w="9738360" h="76200">
                  <a:moveTo>
                    <a:pt x="3937000" y="25398"/>
                  </a:moveTo>
                  <a:lnTo>
                    <a:pt x="3911600" y="25398"/>
                  </a:lnTo>
                  <a:lnTo>
                    <a:pt x="3911600" y="50798"/>
                  </a:lnTo>
                  <a:lnTo>
                    <a:pt x="3937000" y="50798"/>
                  </a:lnTo>
                  <a:lnTo>
                    <a:pt x="3937000" y="25398"/>
                  </a:lnTo>
                  <a:close/>
                </a:path>
                <a:path w="9738360" h="76200">
                  <a:moveTo>
                    <a:pt x="3987800" y="25398"/>
                  </a:moveTo>
                  <a:lnTo>
                    <a:pt x="3962400" y="25398"/>
                  </a:lnTo>
                  <a:lnTo>
                    <a:pt x="3962400" y="50798"/>
                  </a:lnTo>
                  <a:lnTo>
                    <a:pt x="3987800" y="50798"/>
                  </a:lnTo>
                  <a:lnTo>
                    <a:pt x="3987800" y="25398"/>
                  </a:lnTo>
                  <a:close/>
                </a:path>
                <a:path w="9738360" h="76200">
                  <a:moveTo>
                    <a:pt x="4038600" y="25398"/>
                  </a:moveTo>
                  <a:lnTo>
                    <a:pt x="4013200" y="25398"/>
                  </a:lnTo>
                  <a:lnTo>
                    <a:pt x="4013200" y="50798"/>
                  </a:lnTo>
                  <a:lnTo>
                    <a:pt x="4038600" y="50798"/>
                  </a:lnTo>
                  <a:lnTo>
                    <a:pt x="4038600" y="25398"/>
                  </a:lnTo>
                  <a:close/>
                </a:path>
                <a:path w="9738360" h="76200">
                  <a:moveTo>
                    <a:pt x="4089400" y="25398"/>
                  </a:moveTo>
                  <a:lnTo>
                    <a:pt x="4064000" y="25398"/>
                  </a:lnTo>
                  <a:lnTo>
                    <a:pt x="4064000" y="50798"/>
                  </a:lnTo>
                  <a:lnTo>
                    <a:pt x="4089400" y="50798"/>
                  </a:lnTo>
                  <a:lnTo>
                    <a:pt x="4089400" y="25398"/>
                  </a:lnTo>
                  <a:close/>
                </a:path>
                <a:path w="9738360" h="76200">
                  <a:moveTo>
                    <a:pt x="4140200" y="25398"/>
                  </a:moveTo>
                  <a:lnTo>
                    <a:pt x="4114800" y="25398"/>
                  </a:lnTo>
                  <a:lnTo>
                    <a:pt x="4114800" y="50798"/>
                  </a:lnTo>
                  <a:lnTo>
                    <a:pt x="4140200" y="50798"/>
                  </a:lnTo>
                  <a:lnTo>
                    <a:pt x="4140200" y="25398"/>
                  </a:lnTo>
                  <a:close/>
                </a:path>
                <a:path w="9738360" h="76200">
                  <a:moveTo>
                    <a:pt x="4191000" y="25398"/>
                  </a:moveTo>
                  <a:lnTo>
                    <a:pt x="4165600" y="25398"/>
                  </a:lnTo>
                  <a:lnTo>
                    <a:pt x="4165600" y="50798"/>
                  </a:lnTo>
                  <a:lnTo>
                    <a:pt x="4191000" y="50798"/>
                  </a:lnTo>
                  <a:lnTo>
                    <a:pt x="4191000" y="25398"/>
                  </a:lnTo>
                  <a:close/>
                </a:path>
                <a:path w="9738360" h="76200">
                  <a:moveTo>
                    <a:pt x="4241800" y="25398"/>
                  </a:moveTo>
                  <a:lnTo>
                    <a:pt x="4216400" y="25398"/>
                  </a:lnTo>
                  <a:lnTo>
                    <a:pt x="4216400" y="50798"/>
                  </a:lnTo>
                  <a:lnTo>
                    <a:pt x="4241800" y="50798"/>
                  </a:lnTo>
                  <a:lnTo>
                    <a:pt x="4241800" y="25398"/>
                  </a:lnTo>
                  <a:close/>
                </a:path>
                <a:path w="9738360" h="76200">
                  <a:moveTo>
                    <a:pt x="4292600" y="25398"/>
                  </a:moveTo>
                  <a:lnTo>
                    <a:pt x="4267200" y="25398"/>
                  </a:lnTo>
                  <a:lnTo>
                    <a:pt x="4267200" y="50798"/>
                  </a:lnTo>
                  <a:lnTo>
                    <a:pt x="4292600" y="50798"/>
                  </a:lnTo>
                  <a:lnTo>
                    <a:pt x="4292600" y="25398"/>
                  </a:lnTo>
                  <a:close/>
                </a:path>
                <a:path w="9738360" h="76200">
                  <a:moveTo>
                    <a:pt x="4343400" y="25398"/>
                  </a:moveTo>
                  <a:lnTo>
                    <a:pt x="4318000" y="25398"/>
                  </a:lnTo>
                  <a:lnTo>
                    <a:pt x="4318000" y="50798"/>
                  </a:lnTo>
                  <a:lnTo>
                    <a:pt x="4343400" y="50798"/>
                  </a:lnTo>
                  <a:lnTo>
                    <a:pt x="4343400" y="25398"/>
                  </a:lnTo>
                  <a:close/>
                </a:path>
                <a:path w="9738360" h="76200">
                  <a:moveTo>
                    <a:pt x="4394200" y="25398"/>
                  </a:moveTo>
                  <a:lnTo>
                    <a:pt x="4368800" y="25398"/>
                  </a:lnTo>
                  <a:lnTo>
                    <a:pt x="4368800" y="50798"/>
                  </a:lnTo>
                  <a:lnTo>
                    <a:pt x="4394200" y="50798"/>
                  </a:lnTo>
                  <a:lnTo>
                    <a:pt x="4394200" y="25398"/>
                  </a:lnTo>
                  <a:close/>
                </a:path>
                <a:path w="9738360" h="76200">
                  <a:moveTo>
                    <a:pt x="4445000" y="25398"/>
                  </a:moveTo>
                  <a:lnTo>
                    <a:pt x="4419600" y="25398"/>
                  </a:lnTo>
                  <a:lnTo>
                    <a:pt x="4419600" y="50798"/>
                  </a:lnTo>
                  <a:lnTo>
                    <a:pt x="4445000" y="50798"/>
                  </a:lnTo>
                  <a:lnTo>
                    <a:pt x="4445000" y="25398"/>
                  </a:lnTo>
                  <a:close/>
                </a:path>
                <a:path w="9738360" h="76200">
                  <a:moveTo>
                    <a:pt x="4495800" y="25398"/>
                  </a:moveTo>
                  <a:lnTo>
                    <a:pt x="4470400" y="25398"/>
                  </a:lnTo>
                  <a:lnTo>
                    <a:pt x="4470400" y="50798"/>
                  </a:lnTo>
                  <a:lnTo>
                    <a:pt x="4495800" y="50798"/>
                  </a:lnTo>
                  <a:lnTo>
                    <a:pt x="4495800" y="25398"/>
                  </a:lnTo>
                  <a:close/>
                </a:path>
                <a:path w="9738360" h="76200">
                  <a:moveTo>
                    <a:pt x="4546600" y="25398"/>
                  </a:moveTo>
                  <a:lnTo>
                    <a:pt x="4521200" y="25398"/>
                  </a:lnTo>
                  <a:lnTo>
                    <a:pt x="4521200" y="50798"/>
                  </a:lnTo>
                  <a:lnTo>
                    <a:pt x="4546600" y="50798"/>
                  </a:lnTo>
                  <a:lnTo>
                    <a:pt x="4546600" y="25398"/>
                  </a:lnTo>
                  <a:close/>
                </a:path>
                <a:path w="9738360" h="76200">
                  <a:moveTo>
                    <a:pt x="4597400" y="25398"/>
                  </a:moveTo>
                  <a:lnTo>
                    <a:pt x="4572000" y="25398"/>
                  </a:lnTo>
                  <a:lnTo>
                    <a:pt x="4572000" y="50798"/>
                  </a:lnTo>
                  <a:lnTo>
                    <a:pt x="4597400" y="50798"/>
                  </a:lnTo>
                  <a:lnTo>
                    <a:pt x="4597400" y="25398"/>
                  </a:lnTo>
                  <a:close/>
                </a:path>
                <a:path w="9738360" h="76200">
                  <a:moveTo>
                    <a:pt x="4648200" y="25398"/>
                  </a:moveTo>
                  <a:lnTo>
                    <a:pt x="4622800" y="25398"/>
                  </a:lnTo>
                  <a:lnTo>
                    <a:pt x="4622800" y="50798"/>
                  </a:lnTo>
                  <a:lnTo>
                    <a:pt x="4648200" y="50798"/>
                  </a:lnTo>
                  <a:lnTo>
                    <a:pt x="4648200" y="25398"/>
                  </a:lnTo>
                  <a:close/>
                </a:path>
                <a:path w="9738360" h="76200">
                  <a:moveTo>
                    <a:pt x="4699000" y="25398"/>
                  </a:moveTo>
                  <a:lnTo>
                    <a:pt x="4673600" y="25398"/>
                  </a:lnTo>
                  <a:lnTo>
                    <a:pt x="4673600" y="50798"/>
                  </a:lnTo>
                  <a:lnTo>
                    <a:pt x="4699000" y="50798"/>
                  </a:lnTo>
                  <a:lnTo>
                    <a:pt x="4699000" y="25398"/>
                  </a:lnTo>
                  <a:close/>
                </a:path>
                <a:path w="9738360" h="76200">
                  <a:moveTo>
                    <a:pt x="4749800" y="25398"/>
                  </a:moveTo>
                  <a:lnTo>
                    <a:pt x="4724400" y="25398"/>
                  </a:lnTo>
                  <a:lnTo>
                    <a:pt x="4724400" y="50798"/>
                  </a:lnTo>
                  <a:lnTo>
                    <a:pt x="4749800" y="50798"/>
                  </a:lnTo>
                  <a:lnTo>
                    <a:pt x="4749800" y="25398"/>
                  </a:lnTo>
                  <a:close/>
                </a:path>
                <a:path w="9738360" h="76200">
                  <a:moveTo>
                    <a:pt x="4800600" y="25398"/>
                  </a:moveTo>
                  <a:lnTo>
                    <a:pt x="4775200" y="25398"/>
                  </a:lnTo>
                  <a:lnTo>
                    <a:pt x="4775200" y="50798"/>
                  </a:lnTo>
                  <a:lnTo>
                    <a:pt x="4800600" y="50798"/>
                  </a:lnTo>
                  <a:lnTo>
                    <a:pt x="4800600" y="25398"/>
                  </a:lnTo>
                  <a:close/>
                </a:path>
                <a:path w="9738360" h="76200">
                  <a:moveTo>
                    <a:pt x="4851400" y="25398"/>
                  </a:moveTo>
                  <a:lnTo>
                    <a:pt x="4826000" y="25398"/>
                  </a:lnTo>
                  <a:lnTo>
                    <a:pt x="4826000" y="50798"/>
                  </a:lnTo>
                  <a:lnTo>
                    <a:pt x="4851400" y="50798"/>
                  </a:lnTo>
                  <a:lnTo>
                    <a:pt x="4851400" y="25398"/>
                  </a:lnTo>
                  <a:close/>
                </a:path>
                <a:path w="9738360" h="76200">
                  <a:moveTo>
                    <a:pt x="4902200" y="25398"/>
                  </a:moveTo>
                  <a:lnTo>
                    <a:pt x="4876800" y="25398"/>
                  </a:lnTo>
                  <a:lnTo>
                    <a:pt x="4876800" y="50798"/>
                  </a:lnTo>
                  <a:lnTo>
                    <a:pt x="4902200" y="50798"/>
                  </a:lnTo>
                  <a:lnTo>
                    <a:pt x="4902200" y="25398"/>
                  </a:lnTo>
                  <a:close/>
                </a:path>
                <a:path w="9738360" h="76200">
                  <a:moveTo>
                    <a:pt x="4953000" y="25398"/>
                  </a:moveTo>
                  <a:lnTo>
                    <a:pt x="4927600" y="25398"/>
                  </a:lnTo>
                  <a:lnTo>
                    <a:pt x="4927600" y="50798"/>
                  </a:lnTo>
                  <a:lnTo>
                    <a:pt x="4953000" y="50798"/>
                  </a:lnTo>
                  <a:lnTo>
                    <a:pt x="4953000" y="25398"/>
                  </a:lnTo>
                  <a:close/>
                </a:path>
                <a:path w="9738360" h="76200">
                  <a:moveTo>
                    <a:pt x="5003800" y="25398"/>
                  </a:moveTo>
                  <a:lnTo>
                    <a:pt x="4978400" y="25398"/>
                  </a:lnTo>
                  <a:lnTo>
                    <a:pt x="4978400" y="50798"/>
                  </a:lnTo>
                  <a:lnTo>
                    <a:pt x="5003800" y="50798"/>
                  </a:lnTo>
                  <a:lnTo>
                    <a:pt x="5003800" y="25398"/>
                  </a:lnTo>
                  <a:close/>
                </a:path>
                <a:path w="9738360" h="76200">
                  <a:moveTo>
                    <a:pt x="5054600" y="25398"/>
                  </a:moveTo>
                  <a:lnTo>
                    <a:pt x="5029200" y="25398"/>
                  </a:lnTo>
                  <a:lnTo>
                    <a:pt x="5029200" y="50798"/>
                  </a:lnTo>
                  <a:lnTo>
                    <a:pt x="5054600" y="50798"/>
                  </a:lnTo>
                  <a:lnTo>
                    <a:pt x="5054600" y="25398"/>
                  </a:lnTo>
                  <a:close/>
                </a:path>
                <a:path w="9738360" h="76200">
                  <a:moveTo>
                    <a:pt x="5105400" y="25398"/>
                  </a:moveTo>
                  <a:lnTo>
                    <a:pt x="5080000" y="25398"/>
                  </a:lnTo>
                  <a:lnTo>
                    <a:pt x="5080000" y="50798"/>
                  </a:lnTo>
                  <a:lnTo>
                    <a:pt x="5105400" y="50798"/>
                  </a:lnTo>
                  <a:lnTo>
                    <a:pt x="5105400" y="25398"/>
                  </a:lnTo>
                  <a:close/>
                </a:path>
                <a:path w="9738360" h="76200">
                  <a:moveTo>
                    <a:pt x="5156200" y="25398"/>
                  </a:moveTo>
                  <a:lnTo>
                    <a:pt x="5130800" y="25398"/>
                  </a:lnTo>
                  <a:lnTo>
                    <a:pt x="5130800" y="50798"/>
                  </a:lnTo>
                  <a:lnTo>
                    <a:pt x="5156200" y="50798"/>
                  </a:lnTo>
                  <a:lnTo>
                    <a:pt x="5156200" y="25398"/>
                  </a:lnTo>
                  <a:close/>
                </a:path>
                <a:path w="9738360" h="76200">
                  <a:moveTo>
                    <a:pt x="5207000" y="25398"/>
                  </a:moveTo>
                  <a:lnTo>
                    <a:pt x="5181600" y="25398"/>
                  </a:lnTo>
                  <a:lnTo>
                    <a:pt x="5181600" y="50798"/>
                  </a:lnTo>
                  <a:lnTo>
                    <a:pt x="5207000" y="50798"/>
                  </a:lnTo>
                  <a:lnTo>
                    <a:pt x="5207000" y="25398"/>
                  </a:lnTo>
                  <a:close/>
                </a:path>
                <a:path w="9738360" h="76200">
                  <a:moveTo>
                    <a:pt x="5257800" y="25398"/>
                  </a:moveTo>
                  <a:lnTo>
                    <a:pt x="5232400" y="25398"/>
                  </a:lnTo>
                  <a:lnTo>
                    <a:pt x="5232400" y="50798"/>
                  </a:lnTo>
                  <a:lnTo>
                    <a:pt x="5257800" y="50798"/>
                  </a:lnTo>
                  <a:lnTo>
                    <a:pt x="5257800" y="25398"/>
                  </a:lnTo>
                  <a:close/>
                </a:path>
                <a:path w="9738360" h="76200">
                  <a:moveTo>
                    <a:pt x="5308600" y="25398"/>
                  </a:moveTo>
                  <a:lnTo>
                    <a:pt x="5283200" y="25398"/>
                  </a:lnTo>
                  <a:lnTo>
                    <a:pt x="5283200" y="50798"/>
                  </a:lnTo>
                  <a:lnTo>
                    <a:pt x="5308600" y="50798"/>
                  </a:lnTo>
                  <a:lnTo>
                    <a:pt x="5308600" y="25398"/>
                  </a:lnTo>
                  <a:close/>
                </a:path>
                <a:path w="9738360" h="76200">
                  <a:moveTo>
                    <a:pt x="5359400" y="25398"/>
                  </a:moveTo>
                  <a:lnTo>
                    <a:pt x="5334000" y="25398"/>
                  </a:lnTo>
                  <a:lnTo>
                    <a:pt x="5334000" y="50798"/>
                  </a:lnTo>
                  <a:lnTo>
                    <a:pt x="5359400" y="50798"/>
                  </a:lnTo>
                  <a:lnTo>
                    <a:pt x="5359400" y="25398"/>
                  </a:lnTo>
                  <a:close/>
                </a:path>
                <a:path w="9738360" h="76200">
                  <a:moveTo>
                    <a:pt x="5410200" y="25398"/>
                  </a:moveTo>
                  <a:lnTo>
                    <a:pt x="5384800" y="25398"/>
                  </a:lnTo>
                  <a:lnTo>
                    <a:pt x="5384800" y="50798"/>
                  </a:lnTo>
                  <a:lnTo>
                    <a:pt x="5410200" y="50798"/>
                  </a:lnTo>
                  <a:lnTo>
                    <a:pt x="5410200" y="25398"/>
                  </a:lnTo>
                  <a:close/>
                </a:path>
                <a:path w="9738360" h="76200">
                  <a:moveTo>
                    <a:pt x="5461000" y="25398"/>
                  </a:moveTo>
                  <a:lnTo>
                    <a:pt x="5435600" y="25398"/>
                  </a:lnTo>
                  <a:lnTo>
                    <a:pt x="5435600" y="50798"/>
                  </a:lnTo>
                  <a:lnTo>
                    <a:pt x="5461000" y="50798"/>
                  </a:lnTo>
                  <a:lnTo>
                    <a:pt x="5461000" y="25398"/>
                  </a:lnTo>
                  <a:close/>
                </a:path>
                <a:path w="9738360" h="76200">
                  <a:moveTo>
                    <a:pt x="5511800" y="25398"/>
                  </a:moveTo>
                  <a:lnTo>
                    <a:pt x="5486400" y="25398"/>
                  </a:lnTo>
                  <a:lnTo>
                    <a:pt x="5486400" y="50798"/>
                  </a:lnTo>
                  <a:lnTo>
                    <a:pt x="5511800" y="50798"/>
                  </a:lnTo>
                  <a:lnTo>
                    <a:pt x="5511800" y="25398"/>
                  </a:lnTo>
                  <a:close/>
                </a:path>
                <a:path w="9738360" h="76200">
                  <a:moveTo>
                    <a:pt x="5562600" y="25398"/>
                  </a:moveTo>
                  <a:lnTo>
                    <a:pt x="5537200" y="25398"/>
                  </a:lnTo>
                  <a:lnTo>
                    <a:pt x="5537200" y="50798"/>
                  </a:lnTo>
                  <a:lnTo>
                    <a:pt x="5562600" y="50798"/>
                  </a:lnTo>
                  <a:lnTo>
                    <a:pt x="5562600" y="25398"/>
                  </a:lnTo>
                  <a:close/>
                </a:path>
                <a:path w="9738360" h="76200">
                  <a:moveTo>
                    <a:pt x="5613400" y="25398"/>
                  </a:moveTo>
                  <a:lnTo>
                    <a:pt x="5588000" y="25398"/>
                  </a:lnTo>
                  <a:lnTo>
                    <a:pt x="5588000" y="50798"/>
                  </a:lnTo>
                  <a:lnTo>
                    <a:pt x="5613400" y="50798"/>
                  </a:lnTo>
                  <a:lnTo>
                    <a:pt x="5613400" y="25398"/>
                  </a:lnTo>
                  <a:close/>
                </a:path>
                <a:path w="9738360" h="76200">
                  <a:moveTo>
                    <a:pt x="5664200" y="25398"/>
                  </a:moveTo>
                  <a:lnTo>
                    <a:pt x="5638800" y="25398"/>
                  </a:lnTo>
                  <a:lnTo>
                    <a:pt x="5638800" y="50798"/>
                  </a:lnTo>
                  <a:lnTo>
                    <a:pt x="5664200" y="50798"/>
                  </a:lnTo>
                  <a:lnTo>
                    <a:pt x="5664200" y="25398"/>
                  </a:lnTo>
                  <a:close/>
                </a:path>
                <a:path w="9738360" h="76200">
                  <a:moveTo>
                    <a:pt x="5715000" y="25398"/>
                  </a:moveTo>
                  <a:lnTo>
                    <a:pt x="5689600" y="25398"/>
                  </a:lnTo>
                  <a:lnTo>
                    <a:pt x="5689600" y="50798"/>
                  </a:lnTo>
                  <a:lnTo>
                    <a:pt x="5715000" y="50798"/>
                  </a:lnTo>
                  <a:lnTo>
                    <a:pt x="5715000" y="25398"/>
                  </a:lnTo>
                  <a:close/>
                </a:path>
                <a:path w="9738360" h="76200">
                  <a:moveTo>
                    <a:pt x="5740400" y="25398"/>
                  </a:moveTo>
                  <a:lnTo>
                    <a:pt x="5740400" y="50798"/>
                  </a:lnTo>
                  <a:lnTo>
                    <a:pt x="5765800" y="50800"/>
                  </a:lnTo>
                  <a:lnTo>
                    <a:pt x="5765800" y="25400"/>
                  </a:lnTo>
                  <a:lnTo>
                    <a:pt x="5740400" y="25398"/>
                  </a:lnTo>
                  <a:close/>
                </a:path>
                <a:path w="9738360" h="76200">
                  <a:moveTo>
                    <a:pt x="5816600" y="25400"/>
                  </a:moveTo>
                  <a:lnTo>
                    <a:pt x="5791200" y="25400"/>
                  </a:lnTo>
                  <a:lnTo>
                    <a:pt x="5791200" y="50800"/>
                  </a:lnTo>
                  <a:lnTo>
                    <a:pt x="5816600" y="50800"/>
                  </a:lnTo>
                  <a:lnTo>
                    <a:pt x="5816600" y="25400"/>
                  </a:lnTo>
                  <a:close/>
                </a:path>
                <a:path w="9738360" h="76200">
                  <a:moveTo>
                    <a:pt x="5867400" y="25400"/>
                  </a:moveTo>
                  <a:lnTo>
                    <a:pt x="5842000" y="25400"/>
                  </a:lnTo>
                  <a:lnTo>
                    <a:pt x="5842000" y="50800"/>
                  </a:lnTo>
                  <a:lnTo>
                    <a:pt x="5867400" y="50800"/>
                  </a:lnTo>
                  <a:lnTo>
                    <a:pt x="5867400" y="25400"/>
                  </a:lnTo>
                  <a:close/>
                </a:path>
                <a:path w="9738360" h="76200">
                  <a:moveTo>
                    <a:pt x="5918200" y="25400"/>
                  </a:moveTo>
                  <a:lnTo>
                    <a:pt x="5892800" y="25400"/>
                  </a:lnTo>
                  <a:lnTo>
                    <a:pt x="5892800" y="50800"/>
                  </a:lnTo>
                  <a:lnTo>
                    <a:pt x="5918200" y="50800"/>
                  </a:lnTo>
                  <a:lnTo>
                    <a:pt x="5918200" y="25400"/>
                  </a:lnTo>
                  <a:close/>
                </a:path>
                <a:path w="9738360" h="76200">
                  <a:moveTo>
                    <a:pt x="5969000" y="25400"/>
                  </a:moveTo>
                  <a:lnTo>
                    <a:pt x="5943600" y="25400"/>
                  </a:lnTo>
                  <a:lnTo>
                    <a:pt x="5943600" y="50800"/>
                  </a:lnTo>
                  <a:lnTo>
                    <a:pt x="5969000" y="50800"/>
                  </a:lnTo>
                  <a:lnTo>
                    <a:pt x="5969000" y="25400"/>
                  </a:lnTo>
                  <a:close/>
                </a:path>
                <a:path w="9738360" h="76200">
                  <a:moveTo>
                    <a:pt x="6019800" y="25400"/>
                  </a:moveTo>
                  <a:lnTo>
                    <a:pt x="5994400" y="25400"/>
                  </a:lnTo>
                  <a:lnTo>
                    <a:pt x="5994400" y="50800"/>
                  </a:lnTo>
                  <a:lnTo>
                    <a:pt x="6019800" y="50800"/>
                  </a:lnTo>
                  <a:lnTo>
                    <a:pt x="6019800" y="25400"/>
                  </a:lnTo>
                  <a:close/>
                </a:path>
                <a:path w="9738360" h="76200">
                  <a:moveTo>
                    <a:pt x="6070600" y="25400"/>
                  </a:moveTo>
                  <a:lnTo>
                    <a:pt x="6045200" y="25400"/>
                  </a:lnTo>
                  <a:lnTo>
                    <a:pt x="6045200" y="50800"/>
                  </a:lnTo>
                  <a:lnTo>
                    <a:pt x="6070600" y="50800"/>
                  </a:lnTo>
                  <a:lnTo>
                    <a:pt x="6070600" y="25400"/>
                  </a:lnTo>
                  <a:close/>
                </a:path>
                <a:path w="9738360" h="76200">
                  <a:moveTo>
                    <a:pt x="6121400" y="25400"/>
                  </a:moveTo>
                  <a:lnTo>
                    <a:pt x="6096000" y="25400"/>
                  </a:lnTo>
                  <a:lnTo>
                    <a:pt x="6096000" y="50800"/>
                  </a:lnTo>
                  <a:lnTo>
                    <a:pt x="6121400" y="50800"/>
                  </a:lnTo>
                  <a:lnTo>
                    <a:pt x="6121400" y="25400"/>
                  </a:lnTo>
                  <a:close/>
                </a:path>
                <a:path w="9738360" h="76200">
                  <a:moveTo>
                    <a:pt x="6172200" y="25400"/>
                  </a:moveTo>
                  <a:lnTo>
                    <a:pt x="6146800" y="25400"/>
                  </a:lnTo>
                  <a:lnTo>
                    <a:pt x="6146800" y="50800"/>
                  </a:lnTo>
                  <a:lnTo>
                    <a:pt x="6172200" y="50800"/>
                  </a:lnTo>
                  <a:lnTo>
                    <a:pt x="6172200" y="25400"/>
                  </a:lnTo>
                  <a:close/>
                </a:path>
                <a:path w="9738360" h="76200">
                  <a:moveTo>
                    <a:pt x="6223000" y="25400"/>
                  </a:moveTo>
                  <a:lnTo>
                    <a:pt x="6197600" y="25400"/>
                  </a:lnTo>
                  <a:lnTo>
                    <a:pt x="6197600" y="50800"/>
                  </a:lnTo>
                  <a:lnTo>
                    <a:pt x="6223000" y="50800"/>
                  </a:lnTo>
                  <a:lnTo>
                    <a:pt x="6223000" y="25400"/>
                  </a:lnTo>
                  <a:close/>
                </a:path>
                <a:path w="9738360" h="76200">
                  <a:moveTo>
                    <a:pt x="6273800" y="25400"/>
                  </a:moveTo>
                  <a:lnTo>
                    <a:pt x="6248400" y="25400"/>
                  </a:lnTo>
                  <a:lnTo>
                    <a:pt x="6248400" y="50800"/>
                  </a:lnTo>
                  <a:lnTo>
                    <a:pt x="6273800" y="50800"/>
                  </a:lnTo>
                  <a:lnTo>
                    <a:pt x="6273800" y="25400"/>
                  </a:lnTo>
                  <a:close/>
                </a:path>
                <a:path w="9738360" h="76200">
                  <a:moveTo>
                    <a:pt x="6324600" y="25400"/>
                  </a:moveTo>
                  <a:lnTo>
                    <a:pt x="6299200" y="25400"/>
                  </a:lnTo>
                  <a:lnTo>
                    <a:pt x="6299200" y="50800"/>
                  </a:lnTo>
                  <a:lnTo>
                    <a:pt x="6324600" y="50800"/>
                  </a:lnTo>
                  <a:lnTo>
                    <a:pt x="6324600" y="25400"/>
                  </a:lnTo>
                  <a:close/>
                </a:path>
                <a:path w="9738360" h="76200">
                  <a:moveTo>
                    <a:pt x="6375400" y="25400"/>
                  </a:moveTo>
                  <a:lnTo>
                    <a:pt x="6350000" y="25400"/>
                  </a:lnTo>
                  <a:lnTo>
                    <a:pt x="6350000" y="50800"/>
                  </a:lnTo>
                  <a:lnTo>
                    <a:pt x="6375400" y="50800"/>
                  </a:lnTo>
                  <a:lnTo>
                    <a:pt x="6375400" y="25400"/>
                  </a:lnTo>
                  <a:close/>
                </a:path>
                <a:path w="9738360" h="76200">
                  <a:moveTo>
                    <a:pt x="6426200" y="25400"/>
                  </a:moveTo>
                  <a:lnTo>
                    <a:pt x="6400800" y="25400"/>
                  </a:lnTo>
                  <a:lnTo>
                    <a:pt x="6400800" y="50800"/>
                  </a:lnTo>
                  <a:lnTo>
                    <a:pt x="6426200" y="50800"/>
                  </a:lnTo>
                  <a:lnTo>
                    <a:pt x="6426200" y="25400"/>
                  </a:lnTo>
                  <a:close/>
                </a:path>
                <a:path w="9738360" h="76200">
                  <a:moveTo>
                    <a:pt x="6477000" y="25400"/>
                  </a:moveTo>
                  <a:lnTo>
                    <a:pt x="6451600" y="25400"/>
                  </a:lnTo>
                  <a:lnTo>
                    <a:pt x="6451600" y="50800"/>
                  </a:lnTo>
                  <a:lnTo>
                    <a:pt x="6477000" y="50800"/>
                  </a:lnTo>
                  <a:lnTo>
                    <a:pt x="6477000" y="25400"/>
                  </a:lnTo>
                  <a:close/>
                </a:path>
                <a:path w="9738360" h="76200">
                  <a:moveTo>
                    <a:pt x="6527800" y="25400"/>
                  </a:moveTo>
                  <a:lnTo>
                    <a:pt x="6502400" y="25400"/>
                  </a:lnTo>
                  <a:lnTo>
                    <a:pt x="6502400" y="50800"/>
                  </a:lnTo>
                  <a:lnTo>
                    <a:pt x="6527800" y="50800"/>
                  </a:lnTo>
                  <a:lnTo>
                    <a:pt x="6527800" y="25400"/>
                  </a:lnTo>
                  <a:close/>
                </a:path>
                <a:path w="9738360" h="76200">
                  <a:moveTo>
                    <a:pt x="6578600" y="25400"/>
                  </a:moveTo>
                  <a:lnTo>
                    <a:pt x="6553200" y="25400"/>
                  </a:lnTo>
                  <a:lnTo>
                    <a:pt x="6553200" y="50800"/>
                  </a:lnTo>
                  <a:lnTo>
                    <a:pt x="6578600" y="50800"/>
                  </a:lnTo>
                  <a:lnTo>
                    <a:pt x="6578600" y="25400"/>
                  </a:lnTo>
                  <a:close/>
                </a:path>
                <a:path w="9738360" h="76200">
                  <a:moveTo>
                    <a:pt x="6629400" y="25400"/>
                  </a:moveTo>
                  <a:lnTo>
                    <a:pt x="6604000" y="25400"/>
                  </a:lnTo>
                  <a:lnTo>
                    <a:pt x="6604000" y="50800"/>
                  </a:lnTo>
                  <a:lnTo>
                    <a:pt x="6629400" y="50800"/>
                  </a:lnTo>
                  <a:lnTo>
                    <a:pt x="6629400" y="25400"/>
                  </a:lnTo>
                  <a:close/>
                </a:path>
                <a:path w="9738360" h="76200">
                  <a:moveTo>
                    <a:pt x="6680200" y="25400"/>
                  </a:moveTo>
                  <a:lnTo>
                    <a:pt x="6654800" y="25400"/>
                  </a:lnTo>
                  <a:lnTo>
                    <a:pt x="6654800" y="50800"/>
                  </a:lnTo>
                  <a:lnTo>
                    <a:pt x="6680200" y="50800"/>
                  </a:lnTo>
                  <a:lnTo>
                    <a:pt x="6680200" y="25400"/>
                  </a:lnTo>
                  <a:close/>
                </a:path>
                <a:path w="9738360" h="76200">
                  <a:moveTo>
                    <a:pt x="6731000" y="25400"/>
                  </a:moveTo>
                  <a:lnTo>
                    <a:pt x="6705600" y="25400"/>
                  </a:lnTo>
                  <a:lnTo>
                    <a:pt x="6705600" y="50800"/>
                  </a:lnTo>
                  <a:lnTo>
                    <a:pt x="6731000" y="50800"/>
                  </a:lnTo>
                  <a:lnTo>
                    <a:pt x="6731000" y="25400"/>
                  </a:lnTo>
                  <a:close/>
                </a:path>
                <a:path w="9738360" h="76200">
                  <a:moveTo>
                    <a:pt x="6781800" y="25400"/>
                  </a:moveTo>
                  <a:lnTo>
                    <a:pt x="6756400" y="25400"/>
                  </a:lnTo>
                  <a:lnTo>
                    <a:pt x="6756400" y="50800"/>
                  </a:lnTo>
                  <a:lnTo>
                    <a:pt x="6781800" y="50800"/>
                  </a:lnTo>
                  <a:lnTo>
                    <a:pt x="6781800" y="25400"/>
                  </a:lnTo>
                  <a:close/>
                </a:path>
                <a:path w="9738360" h="76200">
                  <a:moveTo>
                    <a:pt x="6832600" y="25400"/>
                  </a:moveTo>
                  <a:lnTo>
                    <a:pt x="6807200" y="25400"/>
                  </a:lnTo>
                  <a:lnTo>
                    <a:pt x="6807200" y="50800"/>
                  </a:lnTo>
                  <a:lnTo>
                    <a:pt x="6832600" y="50800"/>
                  </a:lnTo>
                  <a:lnTo>
                    <a:pt x="6832600" y="25400"/>
                  </a:lnTo>
                  <a:close/>
                </a:path>
                <a:path w="9738360" h="76200">
                  <a:moveTo>
                    <a:pt x="6883400" y="25400"/>
                  </a:moveTo>
                  <a:lnTo>
                    <a:pt x="6858000" y="25400"/>
                  </a:lnTo>
                  <a:lnTo>
                    <a:pt x="6858000" y="50800"/>
                  </a:lnTo>
                  <a:lnTo>
                    <a:pt x="6883400" y="50800"/>
                  </a:lnTo>
                  <a:lnTo>
                    <a:pt x="6883400" y="25400"/>
                  </a:lnTo>
                  <a:close/>
                </a:path>
                <a:path w="9738360" h="76200">
                  <a:moveTo>
                    <a:pt x="6934200" y="25400"/>
                  </a:moveTo>
                  <a:lnTo>
                    <a:pt x="6908800" y="25400"/>
                  </a:lnTo>
                  <a:lnTo>
                    <a:pt x="6908800" y="50800"/>
                  </a:lnTo>
                  <a:lnTo>
                    <a:pt x="6934200" y="50800"/>
                  </a:lnTo>
                  <a:lnTo>
                    <a:pt x="6934200" y="25400"/>
                  </a:lnTo>
                  <a:close/>
                </a:path>
                <a:path w="9738360" h="76200">
                  <a:moveTo>
                    <a:pt x="6985000" y="25400"/>
                  </a:moveTo>
                  <a:lnTo>
                    <a:pt x="6959600" y="25400"/>
                  </a:lnTo>
                  <a:lnTo>
                    <a:pt x="6959600" y="50800"/>
                  </a:lnTo>
                  <a:lnTo>
                    <a:pt x="6985000" y="50800"/>
                  </a:lnTo>
                  <a:lnTo>
                    <a:pt x="6985000" y="25400"/>
                  </a:lnTo>
                  <a:close/>
                </a:path>
                <a:path w="9738360" h="76200">
                  <a:moveTo>
                    <a:pt x="7035800" y="25400"/>
                  </a:moveTo>
                  <a:lnTo>
                    <a:pt x="7010400" y="25400"/>
                  </a:lnTo>
                  <a:lnTo>
                    <a:pt x="7010400" y="50800"/>
                  </a:lnTo>
                  <a:lnTo>
                    <a:pt x="7035800" y="50800"/>
                  </a:lnTo>
                  <a:lnTo>
                    <a:pt x="7035800" y="25400"/>
                  </a:lnTo>
                  <a:close/>
                </a:path>
                <a:path w="9738360" h="76200">
                  <a:moveTo>
                    <a:pt x="7086600" y="25400"/>
                  </a:moveTo>
                  <a:lnTo>
                    <a:pt x="7061200" y="25400"/>
                  </a:lnTo>
                  <a:lnTo>
                    <a:pt x="7061200" y="50800"/>
                  </a:lnTo>
                  <a:lnTo>
                    <a:pt x="7086600" y="50800"/>
                  </a:lnTo>
                  <a:lnTo>
                    <a:pt x="7086600" y="25400"/>
                  </a:lnTo>
                  <a:close/>
                </a:path>
                <a:path w="9738360" h="76200">
                  <a:moveTo>
                    <a:pt x="7137400" y="25400"/>
                  </a:moveTo>
                  <a:lnTo>
                    <a:pt x="7112000" y="25400"/>
                  </a:lnTo>
                  <a:lnTo>
                    <a:pt x="7112000" y="50800"/>
                  </a:lnTo>
                  <a:lnTo>
                    <a:pt x="7137400" y="50800"/>
                  </a:lnTo>
                  <a:lnTo>
                    <a:pt x="7137400" y="25400"/>
                  </a:lnTo>
                  <a:close/>
                </a:path>
                <a:path w="9738360" h="76200">
                  <a:moveTo>
                    <a:pt x="7188200" y="25400"/>
                  </a:moveTo>
                  <a:lnTo>
                    <a:pt x="7162800" y="25400"/>
                  </a:lnTo>
                  <a:lnTo>
                    <a:pt x="7162800" y="50800"/>
                  </a:lnTo>
                  <a:lnTo>
                    <a:pt x="7188200" y="50800"/>
                  </a:lnTo>
                  <a:lnTo>
                    <a:pt x="7188200" y="25400"/>
                  </a:lnTo>
                  <a:close/>
                </a:path>
                <a:path w="9738360" h="76200">
                  <a:moveTo>
                    <a:pt x="7239000" y="25400"/>
                  </a:moveTo>
                  <a:lnTo>
                    <a:pt x="7213600" y="25400"/>
                  </a:lnTo>
                  <a:lnTo>
                    <a:pt x="7213600" y="50800"/>
                  </a:lnTo>
                  <a:lnTo>
                    <a:pt x="7239000" y="50800"/>
                  </a:lnTo>
                  <a:lnTo>
                    <a:pt x="7239000" y="25400"/>
                  </a:lnTo>
                  <a:close/>
                </a:path>
                <a:path w="9738360" h="76200">
                  <a:moveTo>
                    <a:pt x="7289800" y="25400"/>
                  </a:moveTo>
                  <a:lnTo>
                    <a:pt x="7264400" y="25400"/>
                  </a:lnTo>
                  <a:lnTo>
                    <a:pt x="7264400" y="50800"/>
                  </a:lnTo>
                  <a:lnTo>
                    <a:pt x="7289800" y="50800"/>
                  </a:lnTo>
                  <a:lnTo>
                    <a:pt x="7289800" y="25400"/>
                  </a:lnTo>
                  <a:close/>
                </a:path>
                <a:path w="9738360" h="76200">
                  <a:moveTo>
                    <a:pt x="7340600" y="25400"/>
                  </a:moveTo>
                  <a:lnTo>
                    <a:pt x="7315200" y="25400"/>
                  </a:lnTo>
                  <a:lnTo>
                    <a:pt x="7315200" y="50800"/>
                  </a:lnTo>
                  <a:lnTo>
                    <a:pt x="7340600" y="50800"/>
                  </a:lnTo>
                  <a:lnTo>
                    <a:pt x="7340600" y="25400"/>
                  </a:lnTo>
                  <a:close/>
                </a:path>
                <a:path w="9738360" h="76200">
                  <a:moveTo>
                    <a:pt x="7391400" y="25400"/>
                  </a:moveTo>
                  <a:lnTo>
                    <a:pt x="7366000" y="25400"/>
                  </a:lnTo>
                  <a:lnTo>
                    <a:pt x="7366000" y="50800"/>
                  </a:lnTo>
                  <a:lnTo>
                    <a:pt x="7391400" y="50800"/>
                  </a:lnTo>
                  <a:lnTo>
                    <a:pt x="7391400" y="25400"/>
                  </a:lnTo>
                  <a:close/>
                </a:path>
                <a:path w="9738360" h="76200">
                  <a:moveTo>
                    <a:pt x="7442200" y="25400"/>
                  </a:moveTo>
                  <a:lnTo>
                    <a:pt x="7416800" y="25400"/>
                  </a:lnTo>
                  <a:lnTo>
                    <a:pt x="7416800" y="50800"/>
                  </a:lnTo>
                  <a:lnTo>
                    <a:pt x="7442200" y="50800"/>
                  </a:lnTo>
                  <a:lnTo>
                    <a:pt x="7442200" y="25400"/>
                  </a:lnTo>
                  <a:close/>
                </a:path>
                <a:path w="9738360" h="76200">
                  <a:moveTo>
                    <a:pt x="7493000" y="25400"/>
                  </a:moveTo>
                  <a:lnTo>
                    <a:pt x="7467600" y="25400"/>
                  </a:lnTo>
                  <a:lnTo>
                    <a:pt x="7467600" y="50800"/>
                  </a:lnTo>
                  <a:lnTo>
                    <a:pt x="7493000" y="50800"/>
                  </a:lnTo>
                  <a:lnTo>
                    <a:pt x="7493000" y="25400"/>
                  </a:lnTo>
                  <a:close/>
                </a:path>
                <a:path w="9738360" h="76200">
                  <a:moveTo>
                    <a:pt x="7543800" y="25400"/>
                  </a:moveTo>
                  <a:lnTo>
                    <a:pt x="7518400" y="25400"/>
                  </a:lnTo>
                  <a:lnTo>
                    <a:pt x="7518400" y="50800"/>
                  </a:lnTo>
                  <a:lnTo>
                    <a:pt x="7543800" y="50800"/>
                  </a:lnTo>
                  <a:lnTo>
                    <a:pt x="7543800" y="25400"/>
                  </a:lnTo>
                  <a:close/>
                </a:path>
                <a:path w="9738360" h="76200">
                  <a:moveTo>
                    <a:pt x="7594600" y="25400"/>
                  </a:moveTo>
                  <a:lnTo>
                    <a:pt x="7569200" y="25400"/>
                  </a:lnTo>
                  <a:lnTo>
                    <a:pt x="7569200" y="50800"/>
                  </a:lnTo>
                  <a:lnTo>
                    <a:pt x="7594600" y="50800"/>
                  </a:lnTo>
                  <a:lnTo>
                    <a:pt x="7594600" y="25400"/>
                  </a:lnTo>
                  <a:close/>
                </a:path>
                <a:path w="9738360" h="76200">
                  <a:moveTo>
                    <a:pt x="7645400" y="25400"/>
                  </a:moveTo>
                  <a:lnTo>
                    <a:pt x="7620000" y="25400"/>
                  </a:lnTo>
                  <a:lnTo>
                    <a:pt x="7620000" y="50800"/>
                  </a:lnTo>
                  <a:lnTo>
                    <a:pt x="7645400" y="50800"/>
                  </a:lnTo>
                  <a:lnTo>
                    <a:pt x="7645400" y="25400"/>
                  </a:lnTo>
                  <a:close/>
                </a:path>
                <a:path w="9738360" h="76200">
                  <a:moveTo>
                    <a:pt x="7696200" y="25400"/>
                  </a:moveTo>
                  <a:lnTo>
                    <a:pt x="7670800" y="25400"/>
                  </a:lnTo>
                  <a:lnTo>
                    <a:pt x="7670800" y="50800"/>
                  </a:lnTo>
                  <a:lnTo>
                    <a:pt x="7696200" y="50800"/>
                  </a:lnTo>
                  <a:lnTo>
                    <a:pt x="7696200" y="25400"/>
                  </a:lnTo>
                  <a:close/>
                </a:path>
                <a:path w="9738360" h="76200">
                  <a:moveTo>
                    <a:pt x="7747000" y="25400"/>
                  </a:moveTo>
                  <a:lnTo>
                    <a:pt x="7721600" y="25400"/>
                  </a:lnTo>
                  <a:lnTo>
                    <a:pt x="7721600" y="50800"/>
                  </a:lnTo>
                  <a:lnTo>
                    <a:pt x="7747000" y="50800"/>
                  </a:lnTo>
                  <a:lnTo>
                    <a:pt x="7747000" y="25400"/>
                  </a:lnTo>
                  <a:close/>
                </a:path>
                <a:path w="9738360" h="76200">
                  <a:moveTo>
                    <a:pt x="7797800" y="25400"/>
                  </a:moveTo>
                  <a:lnTo>
                    <a:pt x="7772400" y="25400"/>
                  </a:lnTo>
                  <a:lnTo>
                    <a:pt x="7772400" y="50800"/>
                  </a:lnTo>
                  <a:lnTo>
                    <a:pt x="7797800" y="50800"/>
                  </a:lnTo>
                  <a:lnTo>
                    <a:pt x="7797800" y="25400"/>
                  </a:lnTo>
                  <a:close/>
                </a:path>
                <a:path w="9738360" h="76200">
                  <a:moveTo>
                    <a:pt x="7848600" y="25400"/>
                  </a:moveTo>
                  <a:lnTo>
                    <a:pt x="7823200" y="25400"/>
                  </a:lnTo>
                  <a:lnTo>
                    <a:pt x="7823200" y="50800"/>
                  </a:lnTo>
                  <a:lnTo>
                    <a:pt x="7848600" y="50800"/>
                  </a:lnTo>
                  <a:lnTo>
                    <a:pt x="7848600" y="25400"/>
                  </a:lnTo>
                  <a:close/>
                </a:path>
                <a:path w="9738360" h="76200">
                  <a:moveTo>
                    <a:pt x="7899400" y="25400"/>
                  </a:moveTo>
                  <a:lnTo>
                    <a:pt x="7874000" y="25400"/>
                  </a:lnTo>
                  <a:lnTo>
                    <a:pt x="7874000" y="50800"/>
                  </a:lnTo>
                  <a:lnTo>
                    <a:pt x="7899400" y="50800"/>
                  </a:lnTo>
                  <a:lnTo>
                    <a:pt x="7899400" y="25400"/>
                  </a:lnTo>
                  <a:close/>
                </a:path>
                <a:path w="9738360" h="76200">
                  <a:moveTo>
                    <a:pt x="7950200" y="25400"/>
                  </a:moveTo>
                  <a:lnTo>
                    <a:pt x="7924800" y="25400"/>
                  </a:lnTo>
                  <a:lnTo>
                    <a:pt x="7924800" y="50800"/>
                  </a:lnTo>
                  <a:lnTo>
                    <a:pt x="7950200" y="50800"/>
                  </a:lnTo>
                  <a:lnTo>
                    <a:pt x="7950200" y="25400"/>
                  </a:lnTo>
                  <a:close/>
                </a:path>
                <a:path w="9738360" h="76200">
                  <a:moveTo>
                    <a:pt x="8001000" y="25400"/>
                  </a:moveTo>
                  <a:lnTo>
                    <a:pt x="7975600" y="25400"/>
                  </a:lnTo>
                  <a:lnTo>
                    <a:pt x="7975600" y="50800"/>
                  </a:lnTo>
                  <a:lnTo>
                    <a:pt x="8001000" y="50800"/>
                  </a:lnTo>
                  <a:lnTo>
                    <a:pt x="8001000" y="25400"/>
                  </a:lnTo>
                  <a:close/>
                </a:path>
                <a:path w="9738360" h="76200">
                  <a:moveTo>
                    <a:pt x="8051800" y="25400"/>
                  </a:moveTo>
                  <a:lnTo>
                    <a:pt x="8026400" y="25400"/>
                  </a:lnTo>
                  <a:lnTo>
                    <a:pt x="8026400" y="50800"/>
                  </a:lnTo>
                  <a:lnTo>
                    <a:pt x="8051800" y="50800"/>
                  </a:lnTo>
                  <a:lnTo>
                    <a:pt x="8051800" y="25400"/>
                  </a:lnTo>
                  <a:close/>
                </a:path>
                <a:path w="9738360" h="76200">
                  <a:moveTo>
                    <a:pt x="8102600" y="25400"/>
                  </a:moveTo>
                  <a:lnTo>
                    <a:pt x="8077200" y="25400"/>
                  </a:lnTo>
                  <a:lnTo>
                    <a:pt x="8077200" y="50800"/>
                  </a:lnTo>
                  <a:lnTo>
                    <a:pt x="8102600" y="50800"/>
                  </a:lnTo>
                  <a:lnTo>
                    <a:pt x="8102600" y="25400"/>
                  </a:lnTo>
                  <a:close/>
                </a:path>
                <a:path w="9738360" h="76200">
                  <a:moveTo>
                    <a:pt x="8153400" y="25400"/>
                  </a:moveTo>
                  <a:lnTo>
                    <a:pt x="8128000" y="25400"/>
                  </a:lnTo>
                  <a:lnTo>
                    <a:pt x="8128000" y="50800"/>
                  </a:lnTo>
                  <a:lnTo>
                    <a:pt x="8153400" y="50800"/>
                  </a:lnTo>
                  <a:lnTo>
                    <a:pt x="8153400" y="25400"/>
                  </a:lnTo>
                  <a:close/>
                </a:path>
                <a:path w="9738360" h="76200">
                  <a:moveTo>
                    <a:pt x="8204200" y="25400"/>
                  </a:moveTo>
                  <a:lnTo>
                    <a:pt x="8178800" y="25400"/>
                  </a:lnTo>
                  <a:lnTo>
                    <a:pt x="8178800" y="50800"/>
                  </a:lnTo>
                  <a:lnTo>
                    <a:pt x="8204200" y="50800"/>
                  </a:lnTo>
                  <a:lnTo>
                    <a:pt x="8204200" y="25400"/>
                  </a:lnTo>
                  <a:close/>
                </a:path>
                <a:path w="9738360" h="76200">
                  <a:moveTo>
                    <a:pt x="8255000" y="25400"/>
                  </a:moveTo>
                  <a:lnTo>
                    <a:pt x="8229600" y="25400"/>
                  </a:lnTo>
                  <a:lnTo>
                    <a:pt x="8229600" y="50800"/>
                  </a:lnTo>
                  <a:lnTo>
                    <a:pt x="8255000" y="50800"/>
                  </a:lnTo>
                  <a:lnTo>
                    <a:pt x="8255000" y="25400"/>
                  </a:lnTo>
                  <a:close/>
                </a:path>
                <a:path w="9738360" h="76200">
                  <a:moveTo>
                    <a:pt x="8305800" y="25400"/>
                  </a:moveTo>
                  <a:lnTo>
                    <a:pt x="8280400" y="25400"/>
                  </a:lnTo>
                  <a:lnTo>
                    <a:pt x="8280400" y="50800"/>
                  </a:lnTo>
                  <a:lnTo>
                    <a:pt x="8305800" y="50800"/>
                  </a:lnTo>
                  <a:lnTo>
                    <a:pt x="8305800" y="25400"/>
                  </a:lnTo>
                  <a:close/>
                </a:path>
                <a:path w="9738360" h="76200">
                  <a:moveTo>
                    <a:pt x="8356600" y="25400"/>
                  </a:moveTo>
                  <a:lnTo>
                    <a:pt x="8331200" y="25400"/>
                  </a:lnTo>
                  <a:lnTo>
                    <a:pt x="8331200" y="50800"/>
                  </a:lnTo>
                  <a:lnTo>
                    <a:pt x="8356600" y="50800"/>
                  </a:lnTo>
                  <a:lnTo>
                    <a:pt x="8356600" y="25400"/>
                  </a:lnTo>
                  <a:close/>
                </a:path>
                <a:path w="9738360" h="76200">
                  <a:moveTo>
                    <a:pt x="8407400" y="25400"/>
                  </a:moveTo>
                  <a:lnTo>
                    <a:pt x="8382000" y="25400"/>
                  </a:lnTo>
                  <a:lnTo>
                    <a:pt x="8382000" y="50800"/>
                  </a:lnTo>
                  <a:lnTo>
                    <a:pt x="8407400" y="50800"/>
                  </a:lnTo>
                  <a:lnTo>
                    <a:pt x="8407400" y="25400"/>
                  </a:lnTo>
                  <a:close/>
                </a:path>
                <a:path w="9738360" h="76200">
                  <a:moveTo>
                    <a:pt x="8458200" y="25400"/>
                  </a:moveTo>
                  <a:lnTo>
                    <a:pt x="8432800" y="25400"/>
                  </a:lnTo>
                  <a:lnTo>
                    <a:pt x="8432800" y="50800"/>
                  </a:lnTo>
                  <a:lnTo>
                    <a:pt x="8458200" y="50800"/>
                  </a:lnTo>
                  <a:lnTo>
                    <a:pt x="8458200" y="25400"/>
                  </a:lnTo>
                  <a:close/>
                </a:path>
                <a:path w="9738360" h="76200">
                  <a:moveTo>
                    <a:pt x="8509000" y="25400"/>
                  </a:moveTo>
                  <a:lnTo>
                    <a:pt x="8483600" y="25400"/>
                  </a:lnTo>
                  <a:lnTo>
                    <a:pt x="8483600" y="50800"/>
                  </a:lnTo>
                  <a:lnTo>
                    <a:pt x="8509000" y="50800"/>
                  </a:lnTo>
                  <a:lnTo>
                    <a:pt x="8509000" y="25400"/>
                  </a:lnTo>
                  <a:close/>
                </a:path>
                <a:path w="9738360" h="76200">
                  <a:moveTo>
                    <a:pt x="8559800" y="25400"/>
                  </a:moveTo>
                  <a:lnTo>
                    <a:pt x="8534400" y="25400"/>
                  </a:lnTo>
                  <a:lnTo>
                    <a:pt x="8534400" y="50800"/>
                  </a:lnTo>
                  <a:lnTo>
                    <a:pt x="8559800" y="50800"/>
                  </a:lnTo>
                  <a:lnTo>
                    <a:pt x="8559800" y="25400"/>
                  </a:lnTo>
                  <a:close/>
                </a:path>
                <a:path w="9738360" h="76200">
                  <a:moveTo>
                    <a:pt x="8610600" y="25400"/>
                  </a:moveTo>
                  <a:lnTo>
                    <a:pt x="8585200" y="25400"/>
                  </a:lnTo>
                  <a:lnTo>
                    <a:pt x="8585200" y="50800"/>
                  </a:lnTo>
                  <a:lnTo>
                    <a:pt x="8610600" y="50800"/>
                  </a:lnTo>
                  <a:lnTo>
                    <a:pt x="8610600" y="25400"/>
                  </a:lnTo>
                  <a:close/>
                </a:path>
                <a:path w="9738360" h="76200">
                  <a:moveTo>
                    <a:pt x="8661400" y="25400"/>
                  </a:moveTo>
                  <a:lnTo>
                    <a:pt x="8636000" y="25400"/>
                  </a:lnTo>
                  <a:lnTo>
                    <a:pt x="8636000" y="50800"/>
                  </a:lnTo>
                  <a:lnTo>
                    <a:pt x="8661400" y="50800"/>
                  </a:lnTo>
                  <a:lnTo>
                    <a:pt x="8661400" y="25400"/>
                  </a:lnTo>
                  <a:close/>
                </a:path>
                <a:path w="9738360" h="76200">
                  <a:moveTo>
                    <a:pt x="8712200" y="25400"/>
                  </a:moveTo>
                  <a:lnTo>
                    <a:pt x="8686800" y="25400"/>
                  </a:lnTo>
                  <a:lnTo>
                    <a:pt x="8686800" y="50800"/>
                  </a:lnTo>
                  <a:lnTo>
                    <a:pt x="8712200" y="50800"/>
                  </a:lnTo>
                  <a:lnTo>
                    <a:pt x="8712200" y="25400"/>
                  </a:lnTo>
                  <a:close/>
                </a:path>
                <a:path w="9738360" h="76200">
                  <a:moveTo>
                    <a:pt x="8763000" y="25400"/>
                  </a:moveTo>
                  <a:lnTo>
                    <a:pt x="8737600" y="25400"/>
                  </a:lnTo>
                  <a:lnTo>
                    <a:pt x="8737600" y="50800"/>
                  </a:lnTo>
                  <a:lnTo>
                    <a:pt x="8763000" y="50800"/>
                  </a:lnTo>
                  <a:lnTo>
                    <a:pt x="8763000" y="25400"/>
                  </a:lnTo>
                  <a:close/>
                </a:path>
                <a:path w="9738360" h="76200">
                  <a:moveTo>
                    <a:pt x="8813800" y="25400"/>
                  </a:moveTo>
                  <a:lnTo>
                    <a:pt x="8788400" y="25400"/>
                  </a:lnTo>
                  <a:lnTo>
                    <a:pt x="8788400" y="50800"/>
                  </a:lnTo>
                  <a:lnTo>
                    <a:pt x="8813800" y="50800"/>
                  </a:lnTo>
                  <a:lnTo>
                    <a:pt x="8813800" y="25400"/>
                  </a:lnTo>
                  <a:close/>
                </a:path>
                <a:path w="9738360" h="76200">
                  <a:moveTo>
                    <a:pt x="8864600" y="25400"/>
                  </a:moveTo>
                  <a:lnTo>
                    <a:pt x="8839200" y="25400"/>
                  </a:lnTo>
                  <a:lnTo>
                    <a:pt x="8839200" y="50800"/>
                  </a:lnTo>
                  <a:lnTo>
                    <a:pt x="8864600" y="50800"/>
                  </a:lnTo>
                  <a:lnTo>
                    <a:pt x="8864600" y="25400"/>
                  </a:lnTo>
                  <a:close/>
                </a:path>
                <a:path w="9738360" h="76200">
                  <a:moveTo>
                    <a:pt x="8915400" y="25400"/>
                  </a:moveTo>
                  <a:lnTo>
                    <a:pt x="8890000" y="25400"/>
                  </a:lnTo>
                  <a:lnTo>
                    <a:pt x="8890000" y="50800"/>
                  </a:lnTo>
                  <a:lnTo>
                    <a:pt x="8915400" y="50800"/>
                  </a:lnTo>
                  <a:lnTo>
                    <a:pt x="8915400" y="25400"/>
                  </a:lnTo>
                  <a:close/>
                </a:path>
                <a:path w="9738360" h="76200">
                  <a:moveTo>
                    <a:pt x="8966200" y="25400"/>
                  </a:moveTo>
                  <a:lnTo>
                    <a:pt x="8940800" y="25400"/>
                  </a:lnTo>
                  <a:lnTo>
                    <a:pt x="8940800" y="50800"/>
                  </a:lnTo>
                  <a:lnTo>
                    <a:pt x="8966200" y="50800"/>
                  </a:lnTo>
                  <a:lnTo>
                    <a:pt x="8966200" y="25400"/>
                  </a:lnTo>
                  <a:close/>
                </a:path>
                <a:path w="9738360" h="76200">
                  <a:moveTo>
                    <a:pt x="9017000" y="25400"/>
                  </a:moveTo>
                  <a:lnTo>
                    <a:pt x="8991600" y="25400"/>
                  </a:lnTo>
                  <a:lnTo>
                    <a:pt x="8991600" y="50800"/>
                  </a:lnTo>
                  <a:lnTo>
                    <a:pt x="9017000" y="50800"/>
                  </a:lnTo>
                  <a:lnTo>
                    <a:pt x="9017000" y="25400"/>
                  </a:lnTo>
                  <a:close/>
                </a:path>
                <a:path w="9738360" h="76200">
                  <a:moveTo>
                    <a:pt x="9067800" y="25400"/>
                  </a:moveTo>
                  <a:lnTo>
                    <a:pt x="9042400" y="25400"/>
                  </a:lnTo>
                  <a:lnTo>
                    <a:pt x="9042400" y="50800"/>
                  </a:lnTo>
                  <a:lnTo>
                    <a:pt x="9067800" y="50800"/>
                  </a:lnTo>
                  <a:lnTo>
                    <a:pt x="9067800" y="25400"/>
                  </a:lnTo>
                  <a:close/>
                </a:path>
                <a:path w="9738360" h="76200">
                  <a:moveTo>
                    <a:pt x="9118600" y="25400"/>
                  </a:moveTo>
                  <a:lnTo>
                    <a:pt x="9093200" y="25400"/>
                  </a:lnTo>
                  <a:lnTo>
                    <a:pt x="9093200" y="50800"/>
                  </a:lnTo>
                  <a:lnTo>
                    <a:pt x="9118600" y="50800"/>
                  </a:lnTo>
                  <a:lnTo>
                    <a:pt x="9118600" y="25400"/>
                  </a:lnTo>
                  <a:close/>
                </a:path>
                <a:path w="9738360" h="76200">
                  <a:moveTo>
                    <a:pt x="9169400" y="25400"/>
                  </a:moveTo>
                  <a:lnTo>
                    <a:pt x="9144000" y="25400"/>
                  </a:lnTo>
                  <a:lnTo>
                    <a:pt x="9144000" y="50800"/>
                  </a:lnTo>
                  <a:lnTo>
                    <a:pt x="9169400" y="50800"/>
                  </a:lnTo>
                  <a:lnTo>
                    <a:pt x="9169400" y="25400"/>
                  </a:lnTo>
                  <a:close/>
                </a:path>
                <a:path w="9738360" h="76200">
                  <a:moveTo>
                    <a:pt x="9220200" y="25400"/>
                  </a:moveTo>
                  <a:lnTo>
                    <a:pt x="9194800" y="25400"/>
                  </a:lnTo>
                  <a:lnTo>
                    <a:pt x="9194800" y="50800"/>
                  </a:lnTo>
                  <a:lnTo>
                    <a:pt x="9220200" y="50800"/>
                  </a:lnTo>
                  <a:lnTo>
                    <a:pt x="9220200" y="25400"/>
                  </a:lnTo>
                  <a:close/>
                </a:path>
                <a:path w="9738360" h="76200">
                  <a:moveTo>
                    <a:pt x="9271000" y="25400"/>
                  </a:moveTo>
                  <a:lnTo>
                    <a:pt x="9245600" y="25400"/>
                  </a:lnTo>
                  <a:lnTo>
                    <a:pt x="9245600" y="50800"/>
                  </a:lnTo>
                  <a:lnTo>
                    <a:pt x="9271000" y="50800"/>
                  </a:lnTo>
                  <a:lnTo>
                    <a:pt x="9271000" y="25400"/>
                  </a:lnTo>
                  <a:close/>
                </a:path>
                <a:path w="9738360" h="76200">
                  <a:moveTo>
                    <a:pt x="9321800" y="25400"/>
                  </a:moveTo>
                  <a:lnTo>
                    <a:pt x="9296400" y="25400"/>
                  </a:lnTo>
                  <a:lnTo>
                    <a:pt x="9296400" y="50800"/>
                  </a:lnTo>
                  <a:lnTo>
                    <a:pt x="9321800" y="50800"/>
                  </a:lnTo>
                  <a:lnTo>
                    <a:pt x="9321800" y="25400"/>
                  </a:lnTo>
                  <a:close/>
                </a:path>
                <a:path w="9738360" h="76200">
                  <a:moveTo>
                    <a:pt x="9372600" y="25400"/>
                  </a:moveTo>
                  <a:lnTo>
                    <a:pt x="9347200" y="25400"/>
                  </a:lnTo>
                  <a:lnTo>
                    <a:pt x="9347200" y="50800"/>
                  </a:lnTo>
                  <a:lnTo>
                    <a:pt x="9372600" y="50800"/>
                  </a:lnTo>
                  <a:lnTo>
                    <a:pt x="9372600" y="25400"/>
                  </a:lnTo>
                  <a:close/>
                </a:path>
                <a:path w="9738360" h="76200">
                  <a:moveTo>
                    <a:pt x="9423400" y="25400"/>
                  </a:moveTo>
                  <a:lnTo>
                    <a:pt x="9398000" y="25400"/>
                  </a:lnTo>
                  <a:lnTo>
                    <a:pt x="9398000" y="50800"/>
                  </a:lnTo>
                  <a:lnTo>
                    <a:pt x="9423400" y="50800"/>
                  </a:lnTo>
                  <a:lnTo>
                    <a:pt x="9423400" y="25400"/>
                  </a:lnTo>
                  <a:close/>
                </a:path>
                <a:path w="9738360" h="76200">
                  <a:moveTo>
                    <a:pt x="9474200" y="25400"/>
                  </a:moveTo>
                  <a:lnTo>
                    <a:pt x="9448800" y="25400"/>
                  </a:lnTo>
                  <a:lnTo>
                    <a:pt x="9448800" y="50800"/>
                  </a:lnTo>
                  <a:lnTo>
                    <a:pt x="9474200" y="50800"/>
                  </a:lnTo>
                  <a:lnTo>
                    <a:pt x="9474200" y="25400"/>
                  </a:lnTo>
                  <a:close/>
                </a:path>
                <a:path w="9738360" h="76200">
                  <a:moveTo>
                    <a:pt x="9525000" y="25400"/>
                  </a:moveTo>
                  <a:lnTo>
                    <a:pt x="9499600" y="25400"/>
                  </a:lnTo>
                  <a:lnTo>
                    <a:pt x="9499600" y="50800"/>
                  </a:lnTo>
                  <a:lnTo>
                    <a:pt x="9525000" y="50800"/>
                  </a:lnTo>
                  <a:lnTo>
                    <a:pt x="9525000" y="25400"/>
                  </a:lnTo>
                  <a:close/>
                </a:path>
                <a:path w="9738360" h="76200">
                  <a:moveTo>
                    <a:pt x="9575800" y="25400"/>
                  </a:moveTo>
                  <a:lnTo>
                    <a:pt x="9550400" y="25400"/>
                  </a:lnTo>
                  <a:lnTo>
                    <a:pt x="9550400" y="50800"/>
                  </a:lnTo>
                  <a:lnTo>
                    <a:pt x="9575800" y="50800"/>
                  </a:lnTo>
                  <a:lnTo>
                    <a:pt x="9575800" y="25400"/>
                  </a:lnTo>
                  <a:close/>
                </a:path>
                <a:path w="9738360" h="76200">
                  <a:moveTo>
                    <a:pt x="9626600" y="25400"/>
                  </a:moveTo>
                  <a:lnTo>
                    <a:pt x="9601200" y="25400"/>
                  </a:lnTo>
                  <a:lnTo>
                    <a:pt x="9601200" y="50800"/>
                  </a:lnTo>
                  <a:lnTo>
                    <a:pt x="9626600" y="50800"/>
                  </a:lnTo>
                  <a:lnTo>
                    <a:pt x="9626600" y="25400"/>
                  </a:lnTo>
                  <a:close/>
                </a:path>
                <a:path w="9738360" h="76200">
                  <a:moveTo>
                    <a:pt x="9661616" y="0"/>
                  </a:moveTo>
                  <a:lnTo>
                    <a:pt x="9661616" y="76200"/>
                  </a:lnTo>
                  <a:lnTo>
                    <a:pt x="9712416" y="50800"/>
                  </a:lnTo>
                  <a:lnTo>
                    <a:pt x="9674324" y="50800"/>
                  </a:lnTo>
                  <a:lnTo>
                    <a:pt x="9674324" y="25400"/>
                  </a:lnTo>
                  <a:lnTo>
                    <a:pt x="9712416" y="25400"/>
                  </a:lnTo>
                  <a:lnTo>
                    <a:pt x="9661616" y="0"/>
                  </a:lnTo>
                  <a:close/>
                </a:path>
                <a:path w="9738360" h="76200">
                  <a:moveTo>
                    <a:pt x="9661616" y="25400"/>
                  </a:moveTo>
                  <a:lnTo>
                    <a:pt x="9652000" y="25400"/>
                  </a:lnTo>
                  <a:lnTo>
                    <a:pt x="9652000" y="50800"/>
                  </a:lnTo>
                  <a:lnTo>
                    <a:pt x="9661616" y="50800"/>
                  </a:lnTo>
                  <a:lnTo>
                    <a:pt x="9661616" y="25400"/>
                  </a:lnTo>
                  <a:close/>
                </a:path>
                <a:path w="9738360" h="76200">
                  <a:moveTo>
                    <a:pt x="9712416" y="25400"/>
                  </a:moveTo>
                  <a:lnTo>
                    <a:pt x="9674324" y="25400"/>
                  </a:lnTo>
                  <a:lnTo>
                    <a:pt x="9674324" y="50800"/>
                  </a:lnTo>
                  <a:lnTo>
                    <a:pt x="9712416" y="50800"/>
                  </a:lnTo>
                  <a:lnTo>
                    <a:pt x="9737816" y="38100"/>
                  </a:lnTo>
                  <a:lnTo>
                    <a:pt x="9712416" y="25400"/>
                  </a:lnTo>
                  <a:close/>
                </a:path>
              </a:pathLst>
            </a:custGeom>
            <a:solidFill>
              <a:srgbClr val="6D6E7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2877022" y="5212304"/>
              <a:ext cx="2981960" cy="279400"/>
            </a:xfrm>
            <a:custGeom>
              <a:avLst/>
              <a:gdLst/>
              <a:ahLst/>
              <a:cxnLst/>
              <a:rect l="l" t="t" r="r" b="b"/>
              <a:pathLst>
                <a:path w="2981960" h="279400">
                  <a:moveTo>
                    <a:pt x="2918680" y="0"/>
                  </a:moveTo>
                  <a:lnTo>
                    <a:pt x="62727" y="0"/>
                  </a:lnTo>
                  <a:lnTo>
                    <a:pt x="38311" y="4929"/>
                  </a:lnTo>
                  <a:lnTo>
                    <a:pt x="18372" y="18372"/>
                  </a:lnTo>
                  <a:lnTo>
                    <a:pt x="4929" y="38312"/>
                  </a:lnTo>
                  <a:lnTo>
                    <a:pt x="0" y="62729"/>
                  </a:lnTo>
                  <a:lnTo>
                    <a:pt x="0" y="216239"/>
                  </a:lnTo>
                  <a:lnTo>
                    <a:pt x="4929" y="240656"/>
                  </a:lnTo>
                  <a:lnTo>
                    <a:pt x="18372" y="260595"/>
                  </a:lnTo>
                  <a:lnTo>
                    <a:pt x="38311" y="274038"/>
                  </a:lnTo>
                  <a:lnTo>
                    <a:pt x="62727" y="278968"/>
                  </a:lnTo>
                  <a:lnTo>
                    <a:pt x="2918680" y="278968"/>
                  </a:lnTo>
                  <a:lnTo>
                    <a:pt x="2943097" y="274038"/>
                  </a:lnTo>
                  <a:lnTo>
                    <a:pt x="2963037" y="260595"/>
                  </a:lnTo>
                  <a:lnTo>
                    <a:pt x="2976480" y="240656"/>
                  </a:lnTo>
                  <a:lnTo>
                    <a:pt x="2981410" y="216239"/>
                  </a:lnTo>
                  <a:lnTo>
                    <a:pt x="2981410" y="62729"/>
                  </a:lnTo>
                  <a:lnTo>
                    <a:pt x="2976480" y="38312"/>
                  </a:lnTo>
                  <a:lnTo>
                    <a:pt x="2963037" y="18372"/>
                  </a:lnTo>
                  <a:lnTo>
                    <a:pt x="2943097" y="4929"/>
                  </a:lnTo>
                  <a:lnTo>
                    <a:pt x="2918680" y="0"/>
                  </a:lnTo>
                  <a:close/>
                </a:path>
              </a:pathLst>
            </a:custGeom>
            <a:solidFill>
              <a:srgbClr val="F6F52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974568" y="5248147"/>
            <a:ext cx="2787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200" b="1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1</a:t>
            </a:r>
            <a:r>
              <a:rPr sz="1200" b="1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сентября</a:t>
            </a:r>
            <a:r>
              <a:rPr sz="1200" b="1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2022</a:t>
            </a:r>
            <a:r>
              <a:rPr sz="1200" b="1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по</a:t>
            </a:r>
            <a:r>
              <a:rPr sz="1200" b="1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30</a:t>
            </a:r>
            <a:r>
              <a:rPr sz="1200" b="1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ноября</a:t>
            </a:r>
            <a:r>
              <a:rPr sz="1200" b="1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2023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7559795" y="5212304"/>
            <a:ext cx="2981960" cy="279400"/>
          </a:xfrm>
          <a:custGeom>
            <a:avLst/>
            <a:gdLst/>
            <a:ahLst/>
            <a:cxnLst/>
            <a:rect l="l" t="t" r="r" b="b"/>
            <a:pathLst>
              <a:path w="2981959" h="279400">
                <a:moveTo>
                  <a:pt x="2918680" y="0"/>
                </a:moveTo>
                <a:lnTo>
                  <a:pt x="62729" y="0"/>
                </a:lnTo>
                <a:lnTo>
                  <a:pt x="38312" y="4929"/>
                </a:lnTo>
                <a:lnTo>
                  <a:pt x="18372" y="18372"/>
                </a:lnTo>
                <a:lnTo>
                  <a:pt x="4929" y="38312"/>
                </a:lnTo>
                <a:lnTo>
                  <a:pt x="0" y="62729"/>
                </a:lnTo>
                <a:lnTo>
                  <a:pt x="0" y="216239"/>
                </a:lnTo>
                <a:lnTo>
                  <a:pt x="4929" y="240656"/>
                </a:lnTo>
                <a:lnTo>
                  <a:pt x="18372" y="260595"/>
                </a:lnTo>
                <a:lnTo>
                  <a:pt x="38312" y="274038"/>
                </a:lnTo>
                <a:lnTo>
                  <a:pt x="62729" y="278968"/>
                </a:lnTo>
                <a:lnTo>
                  <a:pt x="2918680" y="278968"/>
                </a:lnTo>
                <a:lnTo>
                  <a:pt x="2943097" y="274038"/>
                </a:lnTo>
                <a:lnTo>
                  <a:pt x="2963037" y="260595"/>
                </a:lnTo>
                <a:lnTo>
                  <a:pt x="2976480" y="240656"/>
                </a:lnTo>
                <a:lnTo>
                  <a:pt x="2981410" y="216239"/>
                </a:lnTo>
                <a:lnTo>
                  <a:pt x="2981410" y="62729"/>
                </a:lnTo>
                <a:lnTo>
                  <a:pt x="2976480" y="38312"/>
                </a:lnTo>
                <a:lnTo>
                  <a:pt x="2963037" y="18372"/>
                </a:lnTo>
                <a:lnTo>
                  <a:pt x="2943097" y="4929"/>
                </a:lnTo>
                <a:lnTo>
                  <a:pt x="2918680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8400419" y="5248147"/>
            <a:ext cx="13011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2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1</a:t>
            </a:r>
            <a:r>
              <a:rPr sz="12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декабря</a:t>
            </a:r>
            <a:r>
              <a:rPr sz="12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2023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106604" y="5617972"/>
            <a:ext cx="3888740" cy="4826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0"/>
              </a:spcBef>
            </a:pP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Поэкземплярный учет</a:t>
            </a:r>
            <a:r>
              <a:rPr sz="10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для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продукции,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СГ</a:t>
            </a:r>
            <a:r>
              <a:rPr sz="10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которой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более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40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суток. </a:t>
            </a:r>
            <a:r>
              <a:rPr sz="1000" spc="-26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Для продукции,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со</a:t>
            </a:r>
            <a:r>
              <a:rPr sz="10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СГ</a:t>
            </a:r>
            <a:r>
              <a:rPr sz="10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40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суток</a:t>
            </a:r>
            <a:r>
              <a:rPr sz="10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 менее</a:t>
            </a:r>
            <a:r>
              <a:rPr sz="10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поэкземплярный режим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не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наступает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(действует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объемно-сортовой)</a:t>
            </a:r>
            <a:endParaRPr sz="1000">
              <a:latin typeface="Segoe UI"/>
              <a:cs typeface="Segoe UI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2544577" y="1724830"/>
            <a:ext cx="2620645" cy="540385"/>
            <a:chOff x="2544577" y="1724830"/>
            <a:chExt cx="2620645" cy="540385"/>
          </a:xfrm>
        </p:grpSpPr>
        <p:sp>
          <p:nvSpPr>
            <p:cNvPr id="16" name="object 16"/>
            <p:cNvSpPr/>
            <p:nvPr/>
          </p:nvSpPr>
          <p:spPr>
            <a:xfrm>
              <a:off x="3624576" y="1990181"/>
              <a:ext cx="1541145" cy="0"/>
            </a:xfrm>
            <a:custGeom>
              <a:avLst/>
              <a:gdLst/>
              <a:ahLst/>
              <a:cxnLst/>
              <a:rect l="l" t="t" r="r" b="b"/>
              <a:pathLst>
                <a:path w="1541145">
                  <a:moveTo>
                    <a:pt x="0" y="0"/>
                  </a:moveTo>
                  <a:lnTo>
                    <a:pt x="1540546" y="1"/>
                  </a:lnTo>
                </a:path>
              </a:pathLst>
            </a:custGeom>
            <a:ln w="25400">
              <a:solidFill>
                <a:srgbClr val="6D6E7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7" name="object 1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544577" y="1724830"/>
              <a:ext cx="1080000" cy="539999"/>
            </a:xfrm>
            <a:prstGeom prst="rect">
              <a:avLst/>
            </a:prstGeom>
          </p:spPr>
        </p:pic>
      </p:grpSp>
      <p:sp>
        <p:nvSpPr>
          <p:cNvPr id="18" name="object 18"/>
          <p:cNvSpPr/>
          <p:nvPr/>
        </p:nvSpPr>
        <p:spPr>
          <a:xfrm>
            <a:off x="2332059" y="1255845"/>
            <a:ext cx="1505585" cy="279400"/>
          </a:xfrm>
          <a:custGeom>
            <a:avLst/>
            <a:gdLst/>
            <a:ahLst/>
            <a:cxnLst/>
            <a:rect l="l" t="t" r="r" b="b"/>
            <a:pathLst>
              <a:path w="1505585" h="279400">
                <a:moveTo>
                  <a:pt x="1442308" y="0"/>
                </a:moveTo>
                <a:lnTo>
                  <a:pt x="62727" y="0"/>
                </a:lnTo>
                <a:lnTo>
                  <a:pt x="38311" y="4929"/>
                </a:lnTo>
                <a:lnTo>
                  <a:pt x="18372" y="18372"/>
                </a:lnTo>
                <a:lnTo>
                  <a:pt x="4929" y="38311"/>
                </a:lnTo>
                <a:lnTo>
                  <a:pt x="0" y="62727"/>
                </a:lnTo>
                <a:lnTo>
                  <a:pt x="0" y="216240"/>
                </a:lnTo>
                <a:lnTo>
                  <a:pt x="4929" y="240656"/>
                </a:lnTo>
                <a:lnTo>
                  <a:pt x="18372" y="260595"/>
                </a:lnTo>
                <a:lnTo>
                  <a:pt x="38311" y="274038"/>
                </a:lnTo>
                <a:lnTo>
                  <a:pt x="62727" y="278968"/>
                </a:lnTo>
                <a:lnTo>
                  <a:pt x="1442308" y="278968"/>
                </a:lnTo>
                <a:lnTo>
                  <a:pt x="1466725" y="274038"/>
                </a:lnTo>
                <a:lnTo>
                  <a:pt x="1486664" y="260595"/>
                </a:lnTo>
                <a:lnTo>
                  <a:pt x="1500106" y="240656"/>
                </a:lnTo>
                <a:lnTo>
                  <a:pt x="1505036" y="216240"/>
                </a:lnTo>
                <a:lnTo>
                  <a:pt x="1505036" y="62727"/>
                </a:lnTo>
                <a:lnTo>
                  <a:pt x="1500106" y="38311"/>
                </a:lnTo>
                <a:lnTo>
                  <a:pt x="1486664" y="18372"/>
                </a:lnTo>
                <a:lnTo>
                  <a:pt x="1466725" y="4929"/>
                </a:lnTo>
                <a:lnTo>
                  <a:pt x="1442308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2538477" y="1291844"/>
            <a:ext cx="10928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2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1</a:t>
            </a:r>
            <a:r>
              <a:rPr sz="1200" b="1" spc="-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июня</a:t>
            </a:r>
            <a:r>
              <a:rPr sz="12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2021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297176" y="2454147"/>
            <a:ext cx="1575435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60020" marR="5080" indent="-147955">
              <a:lnSpc>
                <a:spcPct val="100000"/>
              </a:lnSpc>
              <a:spcBef>
                <a:spcPts val="100"/>
              </a:spcBef>
            </a:pP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Обязательная маркировка </a:t>
            </a:r>
            <a:r>
              <a:rPr sz="1000" spc="-26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сыров</a:t>
            </a:r>
            <a:r>
              <a:rPr sz="1000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10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мороженого</a:t>
            </a:r>
            <a:endParaRPr sz="1000">
              <a:latin typeface="Segoe UI"/>
              <a:cs typeface="Segoe UI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4786750" y="1255845"/>
            <a:ext cx="1505585" cy="279400"/>
          </a:xfrm>
          <a:custGeom>
            <a:avLst/>
            <a:gdLst/>
            <a:ahLst/>
            <a:cxnLst/>
            <a:rect l="l" t="t" r="r" b="b"/>
            <a:pathLst>
              <a:path w="1505585" h="279400">
                <a:moveTo>
                  <a:pt x="1442309" y="0"/>
                </a:moveTo>
                <a:lnTo>
                  <a:pt x="62727" y="0"/>
                </a:lnTo>
                <a:lnTo>
                  <a:pt x="38311" y="4929"/>
                </a:lnTo>
                <a:lnTo>
                  <a:pt x="18372" y="18372"/>
                </a:lnTo>
                <a:lnTo>
                  <a:pt x="4929" y="38311"/>
                </a:lnTo>
                <a:lnTo>
                  <a:pt x="0" y="62727"/>
                </a:lnTo>
                <a:lnTo>
                  <a:pt x="0" y="216240"/>
                </a:lnTo>
                <a:lnTo>
                  <a:pt x="4929" y="240656"/>
                </a:lnTo>
                <a:lnTo>
                  <a:pt x="18372" y="260595"/>
                </a:lnTo>
                <a:lnTo>
                  <a:pt x="38311" y="274038"/>
                </a:lnTo>
                <a:lnTo>
                  <a:pt x="62727" y="278968"/>
                </a:lnTo>
                <a:lnTo>
                  <a:pt x="1442309" y="278968"/>
                </a:lnTo>
                <a:lnTo>
                  <a:pt x="1466726" y="274038"/>
                </a:lnTo>
                <a:lnTo>
                  <a:pt x="1486664" y="260595"/>
                </a:lnTo>
                <a:lnTo>
                  <a:pt x="1500108" y="240656"/>
                </a:lnTo>
                <a:lnTo>
                  <a:pt x="1505037" y="216240"/>
                </a:lnTo>
                <a:lnTo>
                  <a:pt x="1505037" y="62727"/>
                </a:lnTo>
                <a:lnTo>
                  <a:pt x="1500108" y="38311"/>
                </a:lnTo>
                <a:lnTo>
                  <a:pt x="1486664" y="18372"/>
                </a:lnTo>
                <a:lnTo>
                  <a:pt x="1466726" y="4929"/>
                </a:lnTo>
                <a:lnTo>
                  <a:pt x="1442309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4858897" y="1291844"/>
            <a:ext cx="13614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2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1</a:t>
            </a:r>
            <a:r>
              <a:rPr sz="12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сентября</a:t>
            </a:r>
            <a:r>
              <a:rPr sz="12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2021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632012" y="2454147"/>
            <a:ext cx="1815464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02895" marR="5080" indent="-290830">
              <a:lnSpc>
                <a:spcPct val="100000"/>
              </a:lnSpc>
              <a:spcBef>
                <a:spcPts val="100"/>
              </a:spcBef>
            </a:pP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Обязательная маркировка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МП </a:t>
            </a:r>
            <a:r>
              <a:rPr sz="1000" spc="-26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со</a:t>
            </a:r>
            <a:r>
              <a:rPr sz="10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СГ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более 40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суток</a:t>
            </a:r>
            <a:endParaRPr sz="1000">
              <a:latin typeface="Segoe UI"/>
              <a:cs typeface="Segoe UI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7241443" y="1255845"/>
            <a:ext cx="1505585" cy="279400"/>
          </a:xfrm>
          <a:custGeom>
            <a:avLst/>
            <a:gdLst/>
            <a:ahLst/>
            <a:cxnLst/>
            <a:rect l="l" t="t" r="r" b="b"/>
            <a:pathLst>
              <a:path w="1505584" h="279400">
                <a:moveTo>
                  <a:pt x="1442308" y="0"/>
                </a:moveTo>
                <a:lnTo>
                  <a:pt x="62727" y="0"/>
                </a:lnTo>
                <a:lnTo>
                  <a:pt x="38311" y="4929"/>
                </a:lnTo>
                <a:lnTo>
                  <a:pt x="18372" y="18372"/>
                </a:lnTo>
                <a:lnTo>
                  <a:pt x="4929" y="38311"/>
                </a:lnTo>
                <a:lnTo>
                  <a:pt x="0" y="62727"/>
                </a:lnTo>
                <a:lnTo>
                  <a:pt x="0" y="216240"/>
                </a:lnTo>
                <a:lnTo>
                  <a:pt x="4929" y="240656"/>
                </a:lnTo>
                <a:lnTo>
                  <a:pt x="18372" y="260595"/>
                </a:lnTo>
                <a:lnTo>
                  <a:pt x="38311" y="274038"/>
                </a:lnTo>
                <a:lnTo>
                  <a:pt x="62727" y="278968"/>
                </a:lnTo>
                <a:lnTo>
                  <a:pt x="1442308" y="278968"/>
                </a:lnTo>
                <a:lnTo>
                  <a:pt x="1466724" y="274038"/>
                </a:lnTo>
                <a:lnTo>
                  <a:pt x="1486663" y="260595"/>
                </a:lnTo>
                <a:lnTo>
                  <a:pt x="1500106" y="240656"/>
                </a:lnTo>
                <a:lnTo>
                  <a:pt x="1505036" y="216240"/>
                </a:lnTo>
                <a:lnTo>
                  <a:pt x="1505036" y="62727"/>
                </a:lnTo>
                <a:lnTo>
                  <a:pt x="1500106" y="38311"/>
                </a:lnTo>
                <a:lnTo>
                  <a:pt x="1486663" y="18372"/>
                </a:lnTo>
                <a:lnTo>
                  <a:pt x="1466724" y="4929"/>
                </a:lnTo>
                <a:lnTo>
                  <a:pt x="1442308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7343880" y="1291844"/>
            <a:ext cx="13011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2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1</a:t>
            </a:r>
            <a:r>
              <a:rPr sz="12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декабря</a:t>
            </a:r>
            <a:r>
              <a:rPr sz="12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2021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7082735" y="2454147"/>
            <a:ext cx="1823085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5745" marR="5080" indent="-233679">
              <a:lnSpc>
                <a:spcPct val="100000"/>
              </a:lnSpc>
              <a:spcBef>
                <a:spcPts val="100"/>
              </a:spcBef>
            </a:pP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Обязательная маркировки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МП </a:t>
            </a:r>
            <a:r>
              <a:rPr sz="1000" spc="-26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со</a:t>
            </a:r>
            <a:r>
              <a:rPr sz="10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СГ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40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суток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10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менее</a:t>
            </a:r>
            <a:endParaRPr sz="1000">
              <a:latin typeface="Segoe UI"/>
              <a:cs typeface="Segoe UI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9696135" y="1255845"/>
            <a:ext cx="1505585" cy="279400"/>
          </a:xfrm>
          <a:custGeom>
            <a:avLst/>
            <a:gdLst/>
            <a:ahLst/>
            <a:cxnLst/>
            <a:rect l="l" t="t" r="r" b="b"/>
            <a:pathLst>
              <a:path w="1505584" h="279400">
                <a:moveTo>
                  <a:pt x="1442308" y="0"/>
                </a:moveTo>
                <a:lnTo>
                  <a:pt x="62727" y="0"/>
                </a:lnTo>
                <a:lnTo>
                  <a:pt x="38311" y="4929"/>
                </a:lnTo>
                <a:lnTo>
                  <a:pt x="18372" y="18372"/>
                </a:lnTo>
                <a:lnTo>
                  <a:pt x="4929" y="38311"/>
                </a:lnTo>
                <a:lnTo>
                  <a:pt x="0" y="62727"/>
                </a:lnTo>
                <a:lnTo>
                  <a:pt x="0" y="216240"/>
                </a:lnTo>
                <a:lnTo>
                  <a:pt x="4929" y="240656"/>
                </a:lnTo>
                <a:lnTo>
                  <a:pt x="18372" y="260595"/>
                </a:lnTo>
                <a:lnTo>
                  <a:pt x="38311" y="274038"/>
                </a:lnTo>
                <a:lnTo>
                  <a:pt x="62727" y="278968"/>
                </a:lnTo>
                <a:lnTo>
                  <a:pt x="1442308" y="278968"/>
                </a:lnTo>
                <a:lnTo>
                  <a:pt x="1466725" y="274038"/>
                </a:lnTo>
                <a:lnTo>
                  <a:pt x="1486664" y="260595"/>
                </a:lnTo>
                <a:lnTo>
                  <a:pt x="1500106" y="240656"/>
                </a:lnTo>
                <a:lnTo>
                  <a:pt x="1505036" y="216240"/>
                </a:lnTo>
                <a:lnTo>
                  <a:pt x="1505036" y="62727"/>
                </a:lnTo>
                <a:lnTo>
                  <a:pt x="1500106" y="38311"/>
                </a:lnTo>
                <a:lnTo>
                  <a:pt x="1486664" y="18372"/>
                </a:lnTo>
                <a:lnTo>
                  <a:pt x="1466725" y="4929"/>
                </a:lnTo>
                <a:lnTo>
                  <a:pt x="1442308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9798571" y="1291844"/>
            <a:ext cx="13011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2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1</a:t>
            </a:r>
            <a:r>
              <a:rPr sz="1200" b="1" spc="-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декабря</a:t>
            </a:r>
            <a:r>
              <a:rPr sz="1200" b="1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2022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9541396" y="2454147"/>
            <a:ext cx="1815464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65760" marR="5080" indent="-353695">
              <a:lnSpc>
                <a:spcPct val="100000"/>
              </a:lnSpc>
              <a:spcBef>
                <a:spcPts val="100"/>
              </a:spcBef>
            </a:pP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Обязательная маркировка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МП </a:t>
            </a:r>
            <a:r>
              <a:rPr sz="1000" spc="-26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у</a:t>
            </a:r>
            <a:r>
              <a:rPr sz="10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фермеров</a:t>
            </a:r>
            <a:r>
              <a:rPr sz="10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1000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СПК</a:t>
            </a:r>
            <a:endParaRPr sz="1000">
              <a:latin typeface="Segoe UI"/>
              <a:cs typeface="Segoe UI"/>
            </a:endParaRPr>
          </a:p>
        </p:txBody>
      </p:sp>
      <p:pic>
        <p:nvPicPr>
          <p:cNvPr id="30" name="object 3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269269" y="1695146"/>
            <a:ext cx="539999" cy="539998"/>
          </a:xfrm>
          <a:prstGeom prst="rect">
            <a:avLst/>
          </a:prstGeom>
        </p:spPr>
      </p:pic>
      <p:sp>
        <p:nvSpPr>
          <p:cNvPr id="31" name="object 31"/>
          <p:cNvSpPr/>
          <p:nvPr/>
        </p:nvSpPr>
        <p:spPr>
          <a:xfrm>
            <a:off x="5881814" y="1990181"/>
            <a:ext cx="1754505" cy="0"/>
          </a:xfrm>
          <a:custGeom>
            <a:avLst/>
            <a:gdLst/>
            <a:ahLst/>
            <a:cxnLst/>
            <a:rect l="l" t="t" r="r" b="b"/>
            <a:pathLst>
              <a:path w="1754504">
                <a:moveTo>
                  <a:pt x="0" y="0"/>
                </a:moveTo>
                <a:lnTo>
                  <a:pt x="1753948" y="1"/>
                </a:lnTo>
              </a:path>
            </a:pathLst>
          </a:custGeom>
          <a:ln w="25400">
            <a:solidFill>
              <a:srgbClr val="6D6E7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2" name="object 3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7723961" y="1695146"/>
            <a:ext cx="539999" cy="539998"/>
          </a:xfrm>
          <a:prstGeom prst="rect">
            <a:avLst/>
          </a:prstGeom>
        </p:spPr>
      </p:pic>
      <p:pic>
        <p:nvPicPr>
          <p:cNvPr id="33" name="object 3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178652" y="1695146"/>
            <a:ext cx="539999" cy="539998"/>
          </a:xfrm>
          <a:prstGeom prst="rect">
            <a:avLst/>
          </a:prstGeom>
        </p:spPr>
      </p:pic>
      <p:sp>
        <p:nvSpPr>
          <p:cNvPr id="34" name="object 34"/>
          <p:cNvSpPr/>
          <p:nvPr/>
        </p:nvSpPr>
        <p:spPr>
          <a:xfrm>
            <a:off x="8340810" y="1990181"/>
            <a:ext cx="1754505" cy="0"/>
          </a:xfrm>
          <a:custGeom>
            <a:avLst/>
            <a:gdLst/>
            <a:ahLst/>
            <a:cxnLst/>
            <a:rect l="l" t="t" r="r" b="b"/>
            <a:pathLst>
              <a:path w="1754504">
                <a:moveTo>
                  <a:pt x="0" y="0"/>
                </a:moveTo>
                <a:lnTo>
                  <a:pt x="1753948" y="1"/>
                </a:lnTo>
              </a:path>
            </a:pathLst>
          </a:custGeom>
          <a:ln w="25400">
            <a:solidFill>
              <a:srgbClr val="6D6E7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0849230" y="1952082"/>
            <a:ext cx="826769" cy="76200"/>
          </a:xfrm>
          <a:custGeom>
            <a:avLst/>
            <a:gdLst/>
            <a:ahLst/>
            <a:cxnLst/>
            <a:rect l="l" t="t" r="r" b="b"/>
            <a:pathLst>
              <a:path w="826770" h="76200">
                <a:moveTo>
                  <a:pt x="25400" y="25398"/>
                </a:moveTo>
                <a:lnTo>
                  <a:pt x="0" y="25398"/>
                </a:lnTo>
                <a:lnTo>
                  <a:pt x="0" y="50798"/>
                </a:lnTo>
                <a:lnTo>
                  <a:pt x="25400" y="50798"/>
                </a:lnTo>
                <a:lnTo>
                  <a:pt x="25400" y="25398"/>
                </a:lnTo>
                <a:close/>
              </a:path>
              <a:path w="826770" h="76200">
                <a:moveTo>
                  <a:pt x="76200" y="25398"/>
                </a:moveTo>
                <a:lnTo>
                  <a:pt x="50800" y="25398"/>
                </a:lnTo>
                <a:lnTo>
                  <a:pt x="50800" y="50798"/>
                </a:lnTo>
                <a:lnTo>
                  <a:pt x="76200" y="50798"/>
                </a:lnTo>
                <a:lnTo>
                  <a:pt x="76200" y="25398"/>
                </a:lnTo>
                <a:close/>
              </a:path>
              <a:path w="826770" h="76200">
                <a:moveTo>
                  <a:pt x="127000" y="25398"/>
                </a:moveTo>
                <a:lnTo>
                  <a:pt x="101600" y="25398"/>
                </a:lnTo>
                <a:lnTo>
                  <a:pt x="101600" y="50798"/>
                </a:lnTo>
                <a:lnTo>
                  <a:pt x="127000" y="50798"/>
                </a:lnTo>
                <a:lnTo>
                  <a:pt x="127000" y="25398"/>
                </a:lnTo>
                <a:close/>
              </a:path>
              <a:path w="826770" h="76200">
                <a:moveTo>
                  <a:pt x="177800" y="25400"/>
                </a:moveTo>
                <a:lnTo>
                  <a:pt x="152400" y="25400"/>
                </a:lnTo>
                <a:lnTo>
                  <a:pt x="152400" y="50800"/>
                </a:lnTo>
                <a:lnTo>
                  <a:pt x="177800" y="50800"/>
                </a:lnTo>
                <a:lnTo>
                  <a:pt x="177800" y="25400"/>
                </a:lnTo>
                <a:close/>
              </a:path>
              <a:path w="826770" h="76200">
                <a:moveTo>
                  <a:pt x="228600" y="25400"/>
                </a:moveTo>
                <a:lnTo>
                  <a:pt x="203200" y="25400"/>
                </a:lnTo>
                <a:lnTo>
                  <a:pt x="203200" y="50800"/>
                </a:lnTo>
                <a:lnTo>
                  <a:pt x="228600" y="50800"/>
                </a:lnTo>
                <a:lnTo>
                  <a:pt x="228600" y="25400"/>
                </a:lnTo>
                <a:close/>
              </a:path>
              <a:path w="826770" h="76200">
                <a:moveTo>
                  <a:pt x="279400" y="25400"/>
                </a:moveTo>
                <a:lnTo>
                  <a:pt x="254000" y="25400"/>
                </a:lnTo>
                <a:lnTo>
                  <a:pt x="254000" y="50800"/>
                </a:lnTo>
                <a:lnTo>
                  <a:pt x="279400" y="50800"/>
                </a:lnTo>
                <a:lnTo>
                  <a:pt x="279400" y="25400"/>
                </a:lnTo>
                <a:close/>
              </a:path>
              <a:path w="826770" h="76200">
                <a:moveTo>
                  <a:pt x="330200" y="25400"/>
                </a:moveTo>
                <a:lnTo>
                  <a:pt x="304800" y="25400"/>
                </a:lnTo>
                <a:lnTo>
                  <a:pt x="304800" y="50800"/>
                </a:lnTo>
                <a:lnTo>
                  <a:pt x="330200" y="50800"/>
                </a:lnTo>
                <a:lnTo>
                  <a:pt x="330200" y="25400"/>
                </a:lnTo>
                <a:close/>
              </a:path>
              <a:path w="826770" h="76200">
                <a:moveTo>
                  <a:pt x="381000" y="25400"/>
                </a:moveTo>
                <a:lnTo>
                  <a:pt x="355600" y="25400"/>
                </a:lnTo>
                <a:lnTo>
                  <a:pt x="355600" y="50800"/>
                </a:lnTo>
                <a:lnTo>
                  <a:pt x="381000" y="50800"/>
                </a:lnTo>
                <a:lnTo>
                  <a:pt x="381000" y="25400"/>
                </a:lnTo>
                <a:close/>
              </a:path>
              <a:path w="826770" h="76200">
                <a:moveTo>
                  <a:pt x="431800" y="25400"/>
                </a:moveTo>
                <a:lnTo>
                  <a:pt x="406400" y="25400"/>
                </a:lnTo>
                <a:lnTo>
                  <a:pt x="406400" y="50800"/>
                </a:lnTo>
                <a:lnTo>
                  <a:pt x="431800" y="50800"/>
                </a:lnTo>
                <a:lnTo>
                  <a:pt x="431800" y="25400"/>
                </a:lnTo>
                <a:close/>
              </a:path>
              <a:path w="826770" h="76200">
                <a:moveTo>
                  <a:pt x="482600" y="25400"/>
                </a:moveTo>
                <a:lnTo>
                  <a:pt x="457200" y="25400"/>
                </a:lnTo>
                <a:lnTo>
                  <a:pt x="457200" y="50800"/>
                </a:lnTo>
                <a:lnTo>
                  <a:pt x="482600" y="50800"/>
                </a:lnTo>
                <a:lnTo>
                  <a:pt x="482600" y="25400"/>
                </a:lnTo>
                <a:close/>
              </a:path>
              <a:path w="826770" h="76200">
                <a:moveTo>
                  <a:pt x="533400" y="25400"/>
                </a:moveTo>
                <a:lnTo>
                  <a:pt x="508000" y="25400"/>
                </a:lnTo>
                <a:lnTo>
                  <a:pt x="508000" y="50800"/>
                </a:lnTo>
                <a:lnTo>
                  <a:pt x="533400" y="50800"/>
                </a:lnTo>
                <a:lnTo>
                  <a:pt x="533400" y="25400"/>
                </a:lnTo>
                <a:close/>
              </a:path>
              <a:path w="826770" h="76200">
                <a:moveTo>
                  <a:pt x="584200" y="25400"/>
                </a:moveTo>
                <a:lnTo>
                  <a:pt x="558800" y="25400"/>
                </a:lnTo>
                <a:lnTo>
                  <a:pt x="558800" y="50800"/>
                </a:lnTo>
                <a:lnTo>
                  <a:pt x="584200" y="50800"/>
                </a:lnTo>
                <a:lnTo>
                  <a:pt x="584200" y="25400"/>
                </a:lnTo>
                <a:close/>
              </a:path>
              <a:path w="826770" h="76200">
                <a:moveTo>
                  <a:pt x="635000" y="25400"/>
                </a:moveTo>
                <a:lnTo>
                  <a:pt x="609600" y="25400"/>
                </a:lnTo>
                <a:lnTo>
                  <a:pt x="609600" y="50800"/>
                </a:lnTo>
                <a:lnTo>
                  <a:pt x="635000" y="50800"/>
                </a:lnTo>
                <a:lnTo>
                  <a:pt x="635000" y="25400"/>
                </a:lnTo>
                <a:close/>
              </a:path>
              <a:path w="826770" h="76200">
                <a:moveTo>
                  <a:pt x="685800" y="25400"/>
                </a:moveTo>
                <a:lnTo>
                  <a:pt x="660400" y="25400"/>
                </a:lnTo>
                <a:lnTo>
                  <a:pt x="660400" y="50800"/>
                </a:lnTo>
                <a:lnTo>
                  <a:pt x="685800" y="50800"/>
                </a:lnTo>
                <a:lnTo>
                  <a:pt x="685800" y="25400"/>
                </a:lnTo>
                <a:close/>
              </a:path>
              <a:path w="826770" h="76200">
                <a:moveTo>
                  <a:pt x="736600" y="25400"/>
                </a:moveTo>
                <a:lnTo>
                  <a:pt x="711200" y="25400"/>
                </a:lnTo>
                <a:lnTo>
                  <a:pt x="711200" y="50800"/>
                </a:lnTo>
                <a:lnTo>
                  <a:pt x="736600" y="50800"/>
                </a:lnTo>
                <a:lnTo>
                  <a:pt x="736600" y="25400"/>
                </a:lnTo>
                <a:close/>
              </a:path>
              <a:path w="826770" h="76200">
                <a:moveTo>
                  <a:pt x="750568" y="0"/>
                </a:moveTo>
                <a:lnTo>
                  <a:pt x="750568" y="76200"/>
                </a:lnTo>
                <a:lnTo>
                  <a:pt x="801368" y="50800"/>
                </a:lnTo>
                <a:lnTo>
                  <a:pt x="762000" y="50800"/>
                </a:lnTo>
                <a:lnTo>
                  <a:pt x="762000" y="25400"/>
                </a:lnTo>
                <a:lnTo>
                  <a:pt x="801368" y="25400"/>
                </a:lnTo>
                <a:lnTo>
                  <a:pt x="750568" y="0"/>
                </a:lnTo>
                <a:close/>
              </a:path>
              <a:path w="826770" h="76200">
                <a:moveTo>
                  <a:pt x="763268" y="25400"/>
                </a:moveTo>
                <a:lnTo>
                  <a:pt x="762000" y="25400"/>
                </a:lnTo>
                <a:lnTo>
                  <a:pt x="762000" y="50800"/>
                </a:lnTo>
                <a:lnTo>
                  <a:pt x="763268" y="50800"/>
                </a:lnTo>
                <a:lnTo>
                  <a:pt x="763268" y="25400"/>
                </a:lnTo>
                <a:close/>
              </a:path>
              <a:path w="826770" h="76200">
                <a:moveTo>
                  <a:pt x="801368" y="25400"/>
                </a:moveTo>
                <a:lnTo>
                  <a:pt x="763268" y="25400"/>
                </a:lnTo>
                <a:lnTo>
                  <a:pt x="763268" y="50800"/>
                </a:lnTo>
                <a:lnTo>
                  <a:pt x="801368" y="50800"/>
                </a:lnTo>
                <a:lnTo>
                  <a:pt x="826768" y="38100"/>
                </a:lnTo>
                <a:lnTo>
                  <a:pt x="801368" y="2540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>
            <a:off x="524182" y="2261108"/>
            <a:ext cx="1247775" cy="388620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191135" marR="5080" indent="-179070">
              <a:lnSpc>
                <a:spcPts val="1420"/>
              </a:lnSpc>
              <a:spcBef>
                <a:spcPts val="160"/>
              </a:spcBef>
            </a:pPr>
            <a:r>
              <a:rPr sz="1200" b="1" spc="-10" dirty="0">
                <a:solidFill>
                  <a:srgbClr val="6D6E71"/>
                </a:solidFill>
                <a:latin typeface="Segoe UI"/>
                <a:cs typeface="Segoe UI"/>
              </a:rPr>
              <a:t>П</a:t>
            </a:r>
            <a:r>
              <a:rPr sz="1200" b="1" spc="5" dirty="0">
                <a:solidFill>
                  <a:srgbClr val="6D6E71"/>
                </a:solidFill>
                <a:latin typeface="Segoe UI"/>
                <a:cs typeface="Segoe UI"/>
              </a:rPr>
              <a:t>р</a:t>
            </a: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о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из</a:t>
            </a: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в</a:t>
            </a:r>
            <a:r>
              <a:rPr sz="1200" b="1" spc="-10" dirty="0">
                <a:solidFill>
                  <a:srgbClr val="6D6E71"/>
                </a:solidFill>
                <a:latin typeface="Segoe UI"/>
                <a:cs typeface="Segoe UI"/>
              </a:rPr>
              <a:t>од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1200" b="1" spc="-15" dirty="0">
                <a:solidFill>
                  <a:srgbClr val="6D6E71"/>
                </a:solidFill>
                <a:latin typeface="Segoe UI"/>
                <a:cs typeface="Segoe UI"/>
              </a:rPr>
              <a:t>т</a:t>
            </a: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ел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, 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импортеры</a:t>
            </a:r>
            <a:endParaRPr sz="1200">
              <a:latin typeface="Segoe UI"/>
              <a:cs typeface="Segoe UI"/>
            </a:endParaRPr>
          </a:p>
        </p:txBody>
      </p:sp>
      <p:pic>
        <p:nvPicPr>
          <p:cNvPr id="37" name="object 3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787911" y="1438837"/>
            <a:ext cx="719999" cy="719999"/>
          </a:xfrm>
          <a:prstGeom prst="rect">
            <a:avLst/>
          </a:prstGeom>
        </p:spPr>
      </p:pic>
      <p:sp>
        <p:nvSpPr>
          <p:cNvPr id="38" name="object 38"/>
          <p:cNvSpPr txBox="1"/>
          <p:nvPr/>
        </p:nvSpPr>
        <p:spPr>
          <a:xfrm>
            <a:off x="575010" y="5940044"/>
            <a:ext cx="109093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Все</a:t>
            </a:r>
            <a:r>
              <a:rPr sz="1200" b="1" spc="-6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участники</a:t>
            </a:r>
            <a:endParaRPr sz="1200">
              <a:latin typeface="Segoe UI"/>
              <a:cs typeface="Segoe UI"/>
            </a:endParaRPr>
          </a:p>
        </p:txBody>
      </p:sp>
      <p:pic>
        <p:nvPicPr>
          <p:cNvPr id="39" name="object 39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766409" y="5120728"/>
            <a:ext cx="719999" cy="719999"/>
          </a:xfrm>
          <a:prstGeom prst="rect">
            <a:avLst/>
          </a:prstGeom>
        </p:spPr>
      </p:pic>
      <p:sp>
        <p:nvSpPr>
          <p:cNvPr id="40" name="object 40"/>
          <p:cNvSpPr txBox="1"/>
          <p:nvPr/>
        </p:nvSpPr>
        <p:spPr>
          <a:xfrm>
            <a:off x="821554" y="4144771"/>
            <a:ext cx="6527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10" dirty="0">
                <a:solidFill>
                  <a:srgbClr val="6D6E71"/>
                </a:solidFill>
                <a:latin typeface="Segoe UI"/>
                <a:cs typeface="Segoe UI"/>
              </a:rPr>
              <a:t>Розница</a:t>
            </a:r>
            <a:endParaRPr sz="1200">
              <a:latin typeface="Segoe UI"/>
              <a:cs typeface="Segoe UI"/>
            </a:endParaRPr>
          </a:p>
        </p:txBody>
      </p:sp>
      <p:pic>
        <p:nvPicPr>
          <p:cNvPr id="41" name="object 41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787911" y="3320536"/>
            <a:ext cx="719999" cy="719999"/>
          </a:xfrm>
          <a:prstGeom prst="rect">
            <a:avLst/>
          </a:prstGeom>
        </p:spPr>
      </p:pic>
      <p:sp>
        <p:nvSpPr>
          <p:cNvPr id="42" name="object 42"/>
          <p:cNvSpPr/>
          <p:nvPr/>
        </p:nvSpPr>
        <p:spPr>
          <a:xfrm>
            <a:off x="2332059" y="3046958"/>
            <a:ext cx="1505585" cy="279400"/>
          </a:xfrm>
          <a:custGeom>
            <a:avLst/>
            <a:gdLst/>
            <a:ahLst/>
            <a:cxnLst/>
            <a:rect l="l" t="t" r="r" b="b"/>
            <a:pathLst>
              <a:path w="1505585" h="279400">
                <a:moveTo>
                  <a:pt x="1442308" y="0"/>
                </a:moveTo>
                <a:lnTo>
                  <a:pt x="62727" y="0"/>
                </a:lnTo>
                <a:lnTo>
                  <a:pt x="38311" y="4929"/>
                </a:lnTo>
                <a:lnTo>
                  <a:pt x="18372" y="18372"/>
                </a:lnTo>
                <a:lnTo>
                  <a:pt x="4929" y="38312"/>
                </a:lnTo>
                <a:lnTo>
                  <a:pt x="0" y="62729"/>
                </a:lnTo>
                <a:lnTo>
                  <a:pt x="0" y="216240"/>
                </a:lnTo>
                <a:lnTo>
                  <a:pt x="4929" y="240656"/>
                </a:lnTo>
                <a:lnTo>
                  <a:pt x="18372" y="260595"/>
                </a:lnTo>
                <a:lnTo>
                  <a:pt x="38311" y="274038"/>
                </a:lnTo>
                <a:lnTo>
                  <a:pt x="62727" y="278968"/>
                </a:lnTo>
                <a:lnTo>
                  <a:pt x="1442308" y="278968"/>
                </a:lnTo>
                <a:lnTo>
                  <a:pt x="1466725" y="274038"/>
                </a:lnTo>
                <a:lnTo>
                  <a:pt x="1486664" y="260595"/>
                </a:lnTo>
                <a:lnTo>
                  <a:pt x="1500106" y="240656"/>
                </a:lnTo>
                <a:lnTo>
                  <a:pt x="1505036" y="216240"/>
                </a:lnTo>
                <a:lnTo>
                  <a:pt x="1505036" y="62729"/>
                </a:lnTo>
                <a:lnTo>
                  <a:pt x="1500106" y="38312"/>
                </a:lnTo>
                <a:lnTo>
                  <a:pt x="1486664" y="18372"/>
                </a:lnTo>
                <a:lnTo>
                  <a:pt x="1466725" y="4929"/>
                </a:lnTo>
                <a:lnTo>
                  <a:pt x="1442308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 txBox="1"/>
          <p:nvPr/>
        </p:nvSpPr>
        <p:spPr>
          <a:xfrm>
            <a:off x="2432908" y="3081020"/>
            <a:ext cx="1304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2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20</a:t>
            </a:r>
            <a:r>
              <a:rPr sz="1200" b="1" spc="-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января</a:t>
            </a:r>
            <a:r>
              <a:rPr sz="12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2022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2004283" y="4246372"/>
            <a:ext cx="2160905" cy="4826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indent="-635" algn="ctr">
              <a:lnSpc>
                <a:spcPct val="100000"/>
              </a:lnSpc>
              <a:spcBef>
                <a:spcPts val="100"/>
              </a:spcBef>
            </a:pP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Обязательная продажа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маркированной продукции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СГ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=&lt;40 </a:t>
            </a:r>
            <a:r>
              <a:rPr sz="1000" spc="-26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дней</a:t>
            </a:r>
            <a:r>
              <a:rPr sz="10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с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помощью </a:t>
            </a:r>
            <a:r>
              <a:rPr sz="1000" spc="-10" dirty="0">
                <a:solidFill>
                  <a:srgbClr val="6D6E71"/>
                </a:solidFill>
                <a:latin typeface="Segoe UI"/>
                <a:cs typeface="Segoe UI"/>
              </a:rPr>
              <a:t>ККТ</a:t>
            </a:r>
            <a:endParaRPr sz="1000">
              <a:latin typeface="Segoe UI"/>
              <a:cs typeface="Segoe UI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1938182" y="3781295"/>
            <a:ext cx="779145" cy="0"/>
          </a:xfrm>
          <a:custGeom>
            <a:avLst/>
            <a:gdLst/>
            <a:ahLst/>
            <a:cxnLst/>
            <a:rect l="l" t="t" r="r" b="b"/>
            <a:pathLst>
              <a:path w="779144">
                <a:moveTo>
                  <a:pt x="0" y="0"/>
                </a:moveTo>
                <a:lnTo>
                  <a:pt x="778709" y="1"/>
                </a:lnTo>
              </a:path>
            </a:pathLst>
          </a:custGeom>
          <a:ln w="25400">
            <a:solidFill>
              <a:srgbClr val="6D6E7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6" name="object 46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2814576" y="3486259"/>
            <a:ext cx="539999" cy="539999"/>
          </a:xfrm>
          <a:prstGeom prst="rect">
            <a:avLst/>
          </a:prstGeom>
        </p:spPr>
      </p:pic>
      <p:grpSp>
        <p:nvGrpSpPr>
          <p:cNvPr id="47" name="object 47"/>
          <p:cNvGrpSpPr/>
          <p:nvPr/>
        </p:nvGrpSpPr>
        <p:grpSpPr>
          <a:xfrm>
            <a:off x="3459891" y="3359560"/>
            <a:ext cx="8216265" cy="540385"/>
            <a:chOff x="3459891" y="3359560"/>
            <a:chExt cx="8216265" cy="540385"/>
          </a:xfrm>
        </p:grpSpPr>
        <p:sp>
          <p:nvSpPr>
            <p:cNvPr id="48" name="object 48"/>
            <p:cNvSpPr/>
            <p:nvPr/>
          </p:nvSpPr>
          <p:spPr>
            <a:xfrm>
              <a:off x="3459891" y="3743195"/>
              <a:ext cx="8216265" cy="76200"/>
            </a:xfrm>
            <a:custGeom>
              <a:avLst/>
              <a:gdLst/>
              <a:ahLst/>
              <a:cxnLst/>
              <a:rect l="l" t="t" r="r" b="b"/>
              <a:pathLst>
                <a:path w="8216265" h="76200">
                  <a:moveTo>
                    <a:pt x="25400" y="25400"/>
                  </a:moveTo>
                  <a:lnTo>
                    <a:pt x="0" y="25400"/>
                  </a:lnTo>
                  <a:lnTo>
                    <a:pt x="0" y="50800"/>
                  </a:lnTo>
                  <a:lnTo>
                    <a:pt x="25400" y="50800"/>
                  </a:lnTo>
                  <a:lnTo>
                    <a:pt x="25400" y="25400"/>
                  </a:lnTo>
                  <a:close/>
                </a:path>
                <a:path w="8216265" h="76200">
                  <a:moveTo>
                    <a:pt x="76200" y="25400"/>
                  </a:moveTo>
                  <a:lnTo>
                    <a:pt x="50800" y="25400"/>
                  </a:lnTo>
                  <a:lnTo>
                    <a:pt x="50800" y="50800"/>
                  </a:lnTo>
                  <a:lnTo>
                    <a:pt x="76200" y="50800"/>
                  </a:lnTo>
                  <a:lnTo>
                    <a:pt x="76200" y="25400"/>
                  </a:lnTo>
                  <a:close/>
                </a:path>
                <a:path w="8216265" h="76200">
                  <a:moveTo>
                    <a:pt x="127000" y="25400"/>
                  </a:moveTo>
                  <a:lnTo>
                    <a:pt x="101600" y="25400"/>
                  </a:lnTo>
                  <a:lnTo>
                    <a:pt x="101600" y="50800"/>
                  </a:lnTo>
                  <a:lnTo>
                    <a:pt x="127000" y="50800"/>
                  </a:lnTo>
                  <a:lnTo>
                    <a:pt x="127000" y="25400"/>
                  </a:lnTo>
                  <a:close/>
                </a:path>
                <a:path w="8216265" h="76200">
                  <a:moveTo>
                    <a:pt x="177800" y="25400"/>
                  </a:moveTo>
                  <a:lnTo>
                    <a:pt x="152400" y="25400"/>
                  </a:lnTo>
                  <a:lnTo>
                    <a:pt x="152400" y="50800"/>
                  </a:lnTo>
                  <a:lnTo>
                    <a:pt x="177800" y="50800"/>
                  </a:lnTo>
                  <a:lnTo>
                    <a:pt x="177800" y="25400"/>
                  </a:lnTo>
                  <a:close/>
                </a:path>
                <a:path w="8216265" h="76200">
                  <a:moveTo>
                    <a:pt x="228600" y="25400"/>
                  </a:moveTo>
                  <a:lnTo>
                    <a:pt x="203200" y="25400"/>
                  </a:lnTo>
                  <a:lnTo>
                    <a:pt x="203200" y="50800"/>
                  </a:lnTo>
                  <a:lnTo>
                    <a:pt x="228600" y="50800"/>
                  </a:lnTo>
                  <a:lnTo>
                    <a:pt x="228600" y="25400"/>
                  </a:lnTo>
                  <a:close/>
                </a:path>
                <a:path w="8216265" h="76200">
                  <a:moveTo>
                    <a:pt x="279400" y="25400"/>
                  </a:moveTo>
                  <a:lnTo>
                    <a:pt x="254000" y="25400"/>
                  </a:lnTo>
                  <a:lnTo>
                    <a:pt x="254000" y="50800"/>
                  </a:lnTo>
                  <a:lnTo>
                    <a:pt x="279400" y="50800"/>
                  </a:lnTo>
                  <a:lnTo>
                    <a:pt x="279400" y="25400"/>
                  </a:lnTo>
                  <a:close/>
                </a:path>
                <a:path w="8216265" h="76200">
                  <a:moveTo>
                    <a:pt x="330200" y="25400"/>
                  </a:moveTo>
                  <a:lnTo>
                    <a:pt x="304800" y="25400"/>
                  </a:lnTo>
                  <a:lnTo>
                    <a:pt x="304800" y="50800"/>
                  </a:lnTo>
                  <a:lnTo>
                    <a:pt x="330200" y="50800"/>
                  </a:lnTo>
                  <a:lnTo>
                    <a:pt x="330200" y="25400"/>
                  </a:lnTo>
                  <a:close/>
                </a:path>
                <a:path w="8216265" h="76200">
                  <a:moveTo>
                    <a:pt x="381000" y="25400"/>
                  </a:moveTo>
                  <a:lnTo>
                    <a:pt x="355600" y="25400"/>
                  </a:lnTo>
                  <a:lnTo>
                    <a:pt x="355600" y="50800"/>
                  </a:lnTo>
                  <a:lnTo>
                    <a:pt x="381000" y="50800"/>
                  </a:lnTo>
                  <a:lnTo>
                    <a:pt x="381000" y="25400"/>
                  </a:lnTo>
                  <a:close/>
                </a:path>
                <a:path w="8216265" h="76200">
                  <a:moveTo>
                    <a:pt x="431800" y="25400"/>
                  </a:moveTo>
                  <a:lnTo>
                    <a:pt x="406400" y="25400"/>
                  </a:lnTo>
                  <a:lnTo>
                    <a:pt x="406400" y="50800"/>
                  </a:lnTo>
                  <a:lnTo>
                    <a:pt x="431800" y="50800"/>
                  </a:lnTo>
                  <a:lnTo>
                    <a:pt x="431800" y="25400"/>
                  </a:lnTo>
                  <a:close/>
                </a:path>
                <a:path w="8216265" h="76200">
                  <a:moveTo>
                    <a:pt x="482600" y="25400"/>
                  </a:moveTo>
                  <a:lnTo>
                    <a:pt x="457200" y="25400"/>
                  </a:lnTo>
                  <a:lnTo>
                    <a:pt x="457200" y="50800"/>
                  </a:lnTo>
                  <a:lnTo>
                    <a:pt x="482600" y="50800"/>
                  </a:lnTo>
                  <a:lnTo>
                    <a:pt x="482600" y="25400"/>
                  </a:lnTo>
                  <a:close/>
                </a:path>
                <a:path w="8216265" h="76200">
                  <a:moveTo>
                    <a:pt x="533400" y="25400"/>
                  </a:moveTo>
                  <a:lnTo>
                    <a:pt x="508000" y="25400"/>
                  </a:lnTo>
                  <a:lnTo>
                    <a:pt x="508000" y="50800"/>
                  </a:lnTo>
                  <a:lnTo>
                    <a:pt x="533400" y="50800"/>
                  </a:lnTo>
                  <a:lnTo>
                    <a:pt x="533400" y="25400"/>
                  </a:lnTo>
                  <a:close/>
                </a:path>
                <a:path w="8216265" h="76200">
                  <a:moveTo>
                    <a:pt x="584200" y="25400"/>
                  </a:moveTo>
                  <a:lnTo>
                    <a:pt x="558800" y="25400"/>
                  </a:lnTo>
                  <a:lnTo>
                    <a:pt x="558800" y="50800"/>
                  </a:lnTo>
                  <a:lnTo>
                    <a:pt x="584200" y="50800"/>
                  </a:lnTo>
                  <a:lnTo>
                    <a:pt x="584200" y="25400"/>
                  </a:lnTo>
                  <a:close/>
                </a:path>
                <a:path w="8216265" h="76200">
                  <a:moveTo>
                    <a:pt x="635000" y="25400"/>
                  </a:moveTo>
                  <a:lnTo>
                    <a:pt x="609600" y="25400"/>
                  </a:lnTo>
                  <a:lnTo>
                    <a:pt x="609600" y="50800"/>
                  </a:lnTo>
                  <a:lnTo>
                    <a:pt x="635000" y="50800"/>
                  </a:lnTo>
                  <a:lnTo>
                    <a:pt x="635000" y="25400"/>
                  </a:lnTo>
                  <a:close/>
                </a:path>
                <a:path w="8216265" h="76200">
                  <a:moveTo>
                    <a:pt x="685800" y="25400"/>
                  </a:moveTo>
                  <a:lnTo>
                    <a:pt x="660400" y="25400"/>
                  </a:lnTo>
                  <a:lnTo>
                    <a:pt x="660400" y="50800"/>
                  </a:lnTo>
                  <a:lnTo>
                    <a:pt x="685800" y="50800"/>
                  </a:lnTo>
                  <a:lnTo>
                    <a:pt x="685800" y="25400"/>
                  </a:lnTo>
                  <a:close/>
                </a:path>
                <a:path w="8216265" h="76200">
                  <a:moveTo>
                    <a:pt x="736600" y="25400"/>
                  </a:moveTo>
                  <a:lnTo>
                    <a:pt x="711200" y="25400"/>
                  </a:lnTo>
                  <a:lnTo>
                    <a:pt x="711200" y="50800"/>
                  </a:lnTo>
                  <a:lnTo>
                    <a:pt x="736600" y="50800"/>
                  </a:lnTo>
                  <a:lnTo>
                    <a:pt x="736600" y="25400"/>
                  </a:lnTo>
                  <a:close/>
                </a:path>
                <a:path w="8216265" h="76200">
                  <a:moveTo>
                    <a:pt x="787400" y="25400"/>
                  </a:moveTo>
                  <a:lnTo>
                    <a:pt x="762000" y="25400"/>
                  </a:lnTo>
                  <a:lnTo>
                    <a:pt x="762000" y="50800"/>
                  </a:lnTo>
                  <a:lnTo>
                    <a:pt x="787400" y="50800"/>
                  </a:lnTo>
                  <a:lnTo>
                    <a:pt x="787400" y="25400"/>
                  </a:lnTo>
                  <a:close/>
                </a:path>
                <a:path w="8216265" h="76200">
                  <a:moveTo>
                    <a:pt x="838200" y="25400"/>
                  </a:moveTo>
                  <a:lnTo>
                    <a:pt x="812800" y="25400"/>
                  </a:lnTo>
                  <a:lnTo>
                    <a:pt x="812800" y="50800"/>
                  </a:lnTo>
                  <a:lnTo>
                    <a:pt x="838200" y="50800"/>
                  </a:lnTo>
                  <a:lnTo>
                    <a:pt x="838200" y="25400"/>
                  </a:lnTo>
                  <a:close/>
                </a:path>
                <a:path w="8216265" h="76200">
                  <a:moveTo>
                    <a:pt x="889000" y="25400"/>
                  </a:moveTo>
                  <a:lnTo>
                    <a:pt x="863600" y="25400"/>
                  </a:lnTo>
                  <a:lnTo>
                    <a:pt x="863600" y="50800"/>
                  </a:lnTo>
                  <a:lnTo>
                    <a:pt x="889000" y="50800"/>
                  </a:lnTo>
                  <a:lnTo>
                    <a:pt x="889000" y="25400"/>
                  </a:lnTo>
                  <a:close/>
                </a:path>
                <a:path w="8216265" h="76200">
                  <a:moveTo>
                    <a:pt x="939800" y="25400"/>
                  </a:moveTo>
                  <a:lnTo>
                    <a:pt x="914400" y="25400"/>
                  </a:lnTo>
                  <a:lnTo>
                    <a:pt x="914400" y="50800"/>
                  </a:lnTo>
                  <a:lnTo>
                    <a:pt x="939800" y="50800"/>
                  </a:lnTo>
                  <a:lnTo>
                    <a:pt x="939800" y="25400"/>
                  </a:lnTo>
                  <a:close/>
                </a:path>
                <a:path w="8216265" h="76200">
                  <a:moveTo>
                    <a:pt x="990600" y="25400"/>
                  </a:moveTo>
                  <a:lnTo>
                    <a:pt x="965200" y="25400"/>
                  </a:lnTo>
                  <a:lnTo>
                    <a:pt x="965200" y="50800"/>
                  </a:lnTo>
                  <a:lnTo>
                    <a:pt x="990600" y="50800"/>
                  </a:lnTo>
                  <a:lnTo>
                    <a:pt x="990600" y="25400"/>
                  </a:lnTo>
                  <a:close/>
                </a:path>
                <a:path w="8216265" h="76200">
                  <a:moveTo>
                    <a:pt x="1041400" y="25400"/>
                  </a:moveTo>
                  <a:lnTo>
                    <a:pt x="1016000" y="25400"/>
                  </a:lnTo>
                  <a:lnTo>
                    <a:pt x="1016000" y="50800"/>
                  </a:lnTo>
                  <a:lnTo>
                    <a:pt x="1041400" y="50800"/>
                  </a:lnTo>
                  <a:lnTo>
                    <a:pt x="1041400" y="25400"/>
                  </a:lnTo>
                  <a:close/>
                </a:path>
                <a:path w="8216265" h="76200">
                  <a:moveTo>
                    <a:pt x="1092200" y="25400"/>
                  </a:moveTo>
                  <a:lnTo>
                    <a:pt x="1066800" y="25400"/>
                  </a:lnTo>
                  <a:lnTo>
                    <a:pt x="1066800" y="50800"/>
                  </a:lnTo>
                  <a:lnTo>
                    <a:pt x="1092200" y="50800"/>
                  </a:lnTo>
                  <a:lnTo>
                    <a:pt x="1092200" y="25400"/>
                  </a:lnTo>
                  <a:close/>
                </a:path>
                <a:path w="8216265" h="76200">
                  <a:moveTo>
                    <a:pt x="1143000" y="25400"/>
                  </a:moveTo>
                  <a:lnTo>
                    <a:pt x="1117600" y="25400"/>
                  </a:lnTo>
                  <a:lnTo>
                    <a:pt x="1117600" y="50800"/>
                  </a:lnTo>
                  <a:lnTo>
                    <a:pt x="1143000" y="50800"/>
                  </a:lnTo>
                  <a:lnTo>
                    <a:pt x="1143000" y="25400"/>
                  </a:lnTo>
                  <a:close/>
                </a:path>
                <a:path w="8216265" h="76200">
                  <a:moveTo>
                    <a:pt x="1193800" y="25400"/>
                  </a:moveTo>
                  <a:lnTo>
                    <a:pt x="1168400" y="25400"/>
                  </a:lnTo>
                  <a:lnTo>
                    <a:pt x="1168400" y="50800"/>
                  </a:lnTo>
                  <a:lnTo>
                    <a:pt x="1193800" y="50800"/>
                  </a:lnTo>
                  <a:lnTo>
                    <a:pt x="1193800" y="25400"/>
                  </a:lnTo>
                  <a:close/>
                </a:path>
                <a:path w="8216265" h="76200">
                  <a:moveTo>
                    <a:pt x="1244600" y="25400"/>
                  </a:moveTo>
                  <a:lnTo>
                    <a:pt x="1219200" y="25400"/>
                  </a:lnTo>
                  <a:lnTo>
                    <a:pt x="1219200" y="50800"/>
                  </a:lnTo>
                  <a:lnTo>
                    <a:pt x="1244600" y="50800"/>
                  </a:lnTo>
                  <a:lnTo>
                    <a:pt x="1244600" y="25400"/>
                  </a:lnTo>
                  <a:close/>
                </a:path>
                <a:path w="8216265" h="76200">
                  <a:moveTo>
                    <a:pt x="1295400" y="25400"/>
                  </a:moveTo>
                  <a:lnTo>
                    <a:pt x="1270000" y="25400"/>
                  </a:lnTo>
                  <a:lnTo>
                    <a:pt x="1270000" y="50800"/>
                  </a:lnTo>
                  <a:lnTo>
                    <a:pt x="1295400" y="50800"/>
                  </a:lnTo>
                  <a:lnTo>
                    <a:pt x="1295400" y="25400"/>
                  </a:lnTo>
                  <a:close/>
                </a:path>
                <a:path w="8216265" h="76200">
                  <a:moveTo>
                    <a:pt x="1346200" y="25400"/>
                  </a:moveTo>
                  <a:lnTo>
                    <a:pt x="1320800" y="25400"/>
                  </a:lnTo>
                  <a:lnTo>
                    <a:pt x="1320800" y="50800"/>
                  </a:lnTo>
                  <a:lnTo>
                    <a:pt x="1346200" y="50800"/>
                  </a:lnTo>
                  <a:lnTo>
                    <a:pt x="1346200" y="25400"/>
                  </a:lnTo>
                  <a:close/>
                </a:path>
                <a:path w="8216265" h="76200">
                  <a:moveTo>
                    <a:pt x="1397000" y="25400"/>
                  </a:moveTo>
                  <a:lnTo>
                    <a:pt x="1371600" y="25400"/>
                  </a:lnTo>
                  <a:lnTo>
                    <a:pt x="1371600" y="50800"/>
                  </a:lnTo>
                  <a:lnTo>
                    <a:pt x="1397000" y="50800"/>
                  </a:lnTo>
                  <a:lnTo>
                    <a:pt x="1397000" y="25400"/>
                  </a:lnTo>
                  <a:close/>
                </a:path>
                <a:path w="8216265" h="76200">
                  <a:moveTo>
                    <a:pt x="1447800" y="25400"/>
                  </a:moveTo>
                  <a:lnTo>
                    <a:pt x="1422400" y="25400"/>
                  </a:lnTo>
                  <a:lnTo>
                    <a:pt x="1422400" y="50800"/>
                  </a:lnTo>
                  <a:lnTo>
                    <a:pt x="1447800" y="50800"/>
                  </a:lnTo>
                  <a:lnTo>
                    <a:pt x="1447800" y="25400"/>
                  </a:lnTo>
                  <a:close/>
                </a:path>
                <a:path w="8216265" h="76200">
                  <a:moveTo>
                    <a:pt x="1498600" y="25400"/>
                  </a:moveTo>
                  <a:lnTo>
                    <a:pt x="1473200" y="25400"/>
                  </a:lnTo>
                  <a:lnTo>
                    <a:pt x="1473200" y="50800"/>
                  </a:lnTo>
                  <a:lnTo>
                    <a:pt x="1498600" y="50800"/>
                  </a:lnTo>
                  <a:lnTo>
                    <a:pt x="1498600" y="25400"/>
                  </a:lnTo>
                  <a:close/>
                </a:path>
                <a:path w="8216265" h="76200">
                  <a:moveTo>
                    <a:pt x="1549400" y="25400"/>
                  </a:moveTo>
                  <a:lnTo>
                    <a:pt x="1524000" y="25400"/>
                  </a:lnTo>
                  <a:lnTo>
                    <a:pt x="1524000" y="50800"/>
                  </a:lnTo>
                  <a:lnTo>
                    <a:pt x="1549400" y="50800"/>
                  </a:lnTo>
                  <a:lnTo>
                    <a:pt x="1549400" y="25400"/>
                  </a:lnTo>
                  <a:close/>
                </a:path>
                <a:path w="8216265" h="76200">
                  <a:moveTo>
                    <a:pt x="1600200" y="25400"/>
                  </a:moveTo>
                  <a:lnTo>
                    <a:pt x="1574800" y="25400"/>
                  </a:lnTo>
                  <a:lnTo>
                    <a:pt x="1574800" y="50800"/>
                  </a:lnTo>
                  <a:lnTo>
                    <a:pt x="1600200" y="50800"/>
                  </a:lnTo>
                  <a:lnTo>
                    <a:pt x="1600200" y="25400"/>
                  </a:lnTo>
                  <a:close/>
                </a:path>
                <a:path w="8216265" h="76200">
                  <a:moveTo>
                    <a:pt x="1651000" y="25400"/>
                  </a:moveTo>
                  <a:lnTo>
                    <a:pt x="1625600" y="25400"/>
                  </a:lnTo>
                  <a:lnTo>
                    <a:pt x="1625600" y="50800"/>
                  </a:lnTo>
                  <a:lnTo>
                    <a:pt x="1651000" y="50800"/>
                  </a:lnTo>
                  <a:lnTo>
                    <a:pt x="1651000" y="25400"/>
                  </a:lnTo>
                  <a:close/>
                </a:path>
                <a:path w="8216265" h="76200">
                  <a:moveTo>
                    <a:pt x="1701800" y="25400"/>
                  </a:moveTo>
                  <a:lnTo>
                    <a:pt x="1676400" y="25400"/>
                  </a:lnTo>
                  <a:lnTo>
                    <a:pt x="1676400" y="50800"/>
                  </a:lnTo>
                  <a:lnTo>
                    <a:pt x="1701800" y="50800"/>
                  </a:lnTo>
                  <a:lnTo>
                    <a:pt x="1701800" y="25400"/>
                  </a:lnTo>
                  <a:close/>
                </a:path>
                <a:path w="8216265" h="76200">
                  <a:moveTo>
                    <a:pt x="1752600" y="25400"/>
                  </a:moveTo>
                  <a:lnTo>
                    <a:pt x="1727200" y="25400"/>
                  </a:lnTo>
                  <a:lnTo>
                    <a:pt x="1727200" y="50800"/>
                  </a:lnTo>
                  <a:lnTo>
                    <a:pt x="1752600" y="50800"/>
                  </a:lnTo>
                  <a:lnTo>
                    <a:pt x="1752600" y="25400"/>
                  </a:lnTo>
                  <a:close/>
                </a:path>
                <a:path w="8216265" h="76200">
                  <a:moveTo>
                    <a:pt x="1803400" y="25400"/>
                  </a:moveTo>
                  <a:lnTo>
                    <a:pt x="1778000" y="25400"/>
                  </a:lnTo>
                  <a:lnTo>
                    <a:pt x="1778000" y="50800"/>
                  </a:lnTo>
                  <a:lnTo>
                    <a:pt x="1803400" y="50800"/>
                  </a:lnTo>
                  <a:lnTo>
                    <a:pt x="1803400" y="25400"/>
                  </a:lnTo>
                  <a:close/>
                </a:path>
                <a:path w="8216265" h="76200">
                  <a:moveTo>
                    <a:pt x="1854200" y="25400"/>
                  </a:moveTo>
                  <a:lnTo>
                    <a:pt x="1828800" y="25400"/>
                  </a:lnTo>
                  <a:lnTo>
                    <a:pt x="1828800" y="50800"/>
                  </a:lnTo>
                  <a:lnTo>
                    <a:pt x="1854200" y="50800"/>
                  </a:lnTo>
                  <a:lnTo>
                    <a:pt x="1854200" y="25400"/>
                  </a:lnTo>
                  <a:close/>
                </a:path>
                <a:path w="8216265" h="76200">
                  <a:moveTo>
                    <a:pt x="1905000" y="25400"/>
                  </a:moveTo>
                  <a:lnTo>
                    <a:pt x="1879600" y="25400"/>
                  </a:lnTo>
                  <a:lnTo>
                    <a:pt x="1879600" y="50800"/>
                  </a:lnTo>
                  <a:lnTo>
                    <a:pt x="1905000" y="50800"/>
                  </a:lnTo>
                  <a:lnTo>
                    <a:pt x="1905000" y="25400"/>
                  </a:lnTo>
                  <a:close/>
                </a:path>
                <a:path w="8216265" h="76200">
                  <a:moveTo>
                    <a:pt x="1955800" y="25400"/>
                  </a:moveTo>
                  <a:lnTo>
                    <a:pt x="1930400" y="25400"/>
                  </a:lnTo>
                  <a:lnTo>
                    <a:pt x="1930400" y="50800"/>
                  </a:lnTo>
                  <a:lnTo>
                    <a:pt x="1955800" y="50800"/>
                  </a:lnTo>
                  <a:lnTo>
                    <a:pt x="1955800" y="25400"/>
                  </a:lnTo>
                  <a:close/>
                </a:path>
                <a:path w="8216265" h="76200">
                  <a:moveTo>
                    <a:pt x="2006600" y="25400"/>
                  </a:moveTo>
                  <a:lnTo>
                    <a:pt x="1981200" y="25400"/>
                  </a:lnTo>
                  <a:lnTo>
                    <a:pt x="1981200" y="50800"/>
                  </a:lnTo>
                  <a:lnTo>
                    <a:pt x="2006600" y="50800"/>
                  </a:lnTo>
                  <a:lnTo>
                    <a:pt x="2006600" y="25400"/>
                  </a:lnTo>
                  <a:close/>
                </a:path>
                <a:path w="8216265" h="76200">
                  <a:moveTo>
                    <a:pt x="2057400" y="25400"/>
                  </a:moveTo>
                  <a:lnTo>
                    <a:pt x="2032000" y="25400"/>
                  </a:lnTo>
                  <a:lnTo>
                    <a:pt x="2032000" y="50800"/>
                  </a:lnTo>
                  <a:lnTo>
                    <a:pt x="2057400" y="50800"/>
                  </a:lnTo>
                  <a:lnTo>
                    <a:pt x="2057400" y="25400"/>
                  </a:lnTo>
                  <a:close/>
                </a:path>
                <a:path w="8216265" h="76200">
                  <a:moveTo>
                    <a:pt x="2108200" y="25400"/>
                  </a:moveTo>
                  <a:lnTo>
                    <a:pt x="2082800" y="25400"/>
                  </a:lnTo>
                  <a:lnTo>
                    <a:pt x="2082800" y="50800"/>
                  </a:lnTo>
                  <a:lnTo>
                    <a:pt x="2108200" y="50800"/>
                  </a:lnTo>
                  <a:lnTo>
                    <a:pt x="2108200" y="25400"/>
                  </a:lnTo>
                  <a:close/>
                </a:path>
                <a:path w="8216265" h="76200">
                  <a:moveTo>
                    <a:pt x="2159000" y="25400"/>
                  </a:moveTo>
                  <a:lnTo>
                    <a:pt x="2133600" y="25400"/>
                  </a:lnTo>
                  <a:lnTo>
                    <a:pt x="2133600" y="50800"/>
                  </a:lnTo>
                  <a:lnTo>
                    <a:pt x="2159000" y="50800"/>
                  </a:lnTo>
                  <a:lnTo>
                    <a:pt x="2159000" y="25400"/>
                  </a:lnTo>
                  <a:close/>
                </a:path>
                <a:path w="8216265" h="76200">
                  <a:moveTo>
                    <a:pt x="2209800" y="25400"/>
                  </a:moveTo>
                  <a:lnTo>
                    <a:pt x="2184400" y="25400"/>
                  </a:lnTo>
                  <a:lnTo>
                    <a:pt x="2184400" y="50800"/>
                  </a:lnTo>
                  <a:lnTo>
                    <a:pt x="2209800" y="50800"/>
                  </a:lnTo>
                  <a:lnTo>
                    <a:pt x="2209800" y="25400"/>
                  </a:lnTo>
                  <a:close/>
                </a:path>
                <a:path w="8216265" h="76200">
                  <a:moveTo>
                    <a:pt x="2260600" y="25400"/>
                  </a:moveTo>
                  <a:lnTo>
                    <a:pt x="2235200" y="25400"/>
                  </a:lnTo>
                  <a:lnTo>
                    <a:pt x="2235200" y="50800"/>
                  </a:lnTo>
                  <a:lnTo>
                    <a:pt x="2260600" y="50800"/>
                  </a:lnTo>
                  <a:lnTo>
                    <a:pt x="2260600" y="25400"/>
                  </a:lnTo>
                  <a:close/>
                </a:path>
                <a:path w="8216265" h="76200">
                  <a:moveTo>
                    <a:pt x="2311400" y="25400"/>
                  </a:moveTo>
                  <a:lnTo>
                    <a:pt x="2286000" y="25400"/>
                  </a:lnTo>
                  <a:lnTo>
                    <a:pt x="2286000" y="50800"/>
                  </a:lnTo>
                  <a:lnTo>
                    <a:pt x="2311400" y="50800"/>
                  </a:lnTo>
                  <a:lnTo>
                    <a:pt x="2311400" y="25400"/>
                  </a:lnTo>
                  <a:close/>
                </a:path>
                <a:path w="8216265" h="76200">
                  <a:moveTo>
                    <a:pt x="2362200" y="25400"/>
                  </a:moveTo>
                  <a:lnTo>
                    <a:pt x="2336800" y="25400"/>
                  </a:lnTo>
                  <a:lnTo>
                    <a:pt x="2336800" y="50800"/>
                  </a:lnTo>
                  <a:lnTo>
                    <a:pt x="2362200" y="50800"/>
                  </a:lnTo>
                  <a:lnTo>
                    <a:pt x="2362200" y="25400"/>
                  </a:lnTo>
                  <a:close/>
                </a:path>
                <a:path w="8216265" h="76200">
                  <a:moveTo>
                    <a:pt x="2413000" y="25400"/>
                  </a:moveTo>
                  <a:lnTo>
                    <a:pt x="2387600" y="25400"/>
                  </a:lnTo>
                  <a:lnTo>
                    <a:pt x="2387600" y="50800"/>
                  </a:lnTo>
                  <a:lnTo>
                    <a:pt x="2413000" y="50800"/>
                  </a:lnTo>
                  <a:lnTo>
                    <a:pt x="2413000" y="25400"/>
                  </a:lnTo>
                  <a:close/>
                </a:path>
                <a:path w="8216265" h="76200">
                  <a:moveTo>
                    <a:pt x="2463800" y="25400"/>
                  </a:moveTo>
                  <a:lnTo>
                    <a:pt x="2438400" y="25400"/>
                  </a:lnTo>
                  <a:lnTo>
                    <a:pt x="2438400" y="50800"/>
                  </a:lnTo>
                  <a:lnTo>
                    <a:pt x="2463800" y="50800"/>
                  </a:lnTo>
                  <a:lnTo>
                    <a:pt x="2463800" y="25400"/>
                  </a:lnTo>
                  <a:close/>
                </a:path>
                <a:path w="8216265" h="76200">
                  <a:moveTo>
                    <a:pt x="2514600" y="25400"/>
                  </a:moveTo>
                  <a:lnTo>
                    <a:pt x="2489200" y="25400"/>
                  </a:lnTo>
                  <a:lnTo>
                    <a:pt x="2489200" y="50800"/>
                  </a:lnTo>
                  <a:lnTo>
                    <a:pt x="2514600" y="50800"/>
                  </a:lnTo>
                  <a:lnTo>
                    <a:pt x="2514600" y="25400"/>
                  </a:lnTo>
                  <a:close/>
                </a:path>
                <a:path w="8216265" h="76200">
                  <a:moveTo>
                    <a:pt x="2565400" y="25400"/>
                  </a:moveTo>
                  <a:lnTo>
                    <a:pt x="2540000" y="25400"/>
                  </a:lnTo>
                  <a:lnTo>
                    <a:pt x="2540000" y="50800"/>
                  </a:lnTo>
                  <a:lnTo>
                    <a:pt x="2565400" y="50800"/>
                  </a:lnTo>
                  <a:lnTo>
                    <a:pt x="2565400" y="25400"/>
                  </a:lnTo>
                  <a:close/>
                </a:path>
                <a:path w="8216265" h="76200">
                  <a:moveTo>
                    <a:pt x="2616200" y="25400"/>
                  </a:moveTo>
                  <a:lnTo>
                    <a:pt x="2590800" y="25400"/>
                  </a:lnTo>
                  <a:lnTo>
                    <a:pt x="2590800" y="50800"/>
                  </a:lnTo>
                  <a:lnTo>
                    <a:pt x="2616200" y="50800"/>
                  </a:lnTo>
                  <a:lnTo>
                    <a:pt x="2616200" y="25400"/>
                  </a:lnTo>
                  <a:close/>
                </a:path>
                <a:path w="8216265" h="76200">
                  <a:moveTo>
                    <a:pt x="2667000" y="25400"/>
                  </a:moveTo>
                  <a:lnTo>
                    <a:pt x="2641600" y="25400"/>
                  </a:lnTo>
                  <a:lnTo>
                    <a:pt x="2641600" y="50800"/>
                  </a:lnTo>
                  <a:lnTo>
                    <a:pt x="2667000" y="50800"/>
                  </a:lnTo>
                  <a:lnTo>
                    <a:pt x="2667000" y="25400"/>
                  </a:lnTo>
                  <a:close/>
                </a:path>
                <a:path w="8216265" h="76200">
                  <a:moveTo>
                    <a:pt x="2717800" y="25400"/>
                  </a:moveTo>
                  <a:lnTo>
                    <a:pt x="2692400" y="25400"/>
                  </a:lnTo>
                  <a:lnTo>
                    <a:pt x="2692400" y="50800"/>
                  </a:lnTo>
                  <a:lnTo>
                    <a:pt x="2717800" y="50800"/>
                  </a:lnTo>
                  <a:lnTo>
                    <a:pt x="2717800" y="25400"/>
                  </a:lnTo>
                  <a:close/>
                </a:path>
                <a:path w="8216265" h="76200">
                  <a:moveTo>
                    <a:pt x="2768600" y="25400"/>
                  </a:moveTo>
                  <a:lnTo>
                    <a:pt x="2743200" y="25400"/>
                  </a:lnTo>
                  <a:lnTo>
                    <a:pt x="2743200" y="50800"/>
                  </a:lnTo>
                  <a:lnTo>
                    <a:pt x="2768600" y="50800"/>
                  </a:lnTo>
                  <a:lnTo>
                    <a:pt x="2768600" y="25400"/>
                  </a:lnTo>
                  <a:close/>
                </a:path>
                <a:path w="8216265" h="76200">
                  <a:moveTo>
                    <a:pt x="2819400" y="25400"/>
                  </a:moveTo>
                  <a:lnTo>
                    <a:pt x="2794000" y="25400"/>
                  </a:lnTo>
                  <a:lnTo>
                    <a:pt x="2794000" y="50800"/>
                  </a:lnTo>
                  <a:lnTo>
                    <a:pt x="2819400" y="50800"/>
                  </a:lnTo>
                  <a:lnTo>
                    <a:pt x="2819400" y="25400"/>
                  </a:lnTo>
                  <a:close/>
                </a:path>
                <a:path w="8216265" h="76200">
                  <a:moveTo>
                    <a:pt x="2870200" y="25400"/>
                  </a:moveTo>
                  <a:lnTo>
                    <a:pt x="2844800" y="25400"/>
                  </a:lnTo>
                  <a:lnTo>
                    <a:pt x="2844800" y="50800"/>
                  </a:lnTo>
                  <a:lnTo>
                    <a:pt x="2870200" y="50800"/>
                  </a:lnTo>
                  <a:lnTo>
                    <a:pt x="2870200" y="25400"/>
                  </a:lnTo>
                  <a:close/>
                </a:path>
                <a:path w="8216265" h="76200">
                  <a:moveTo>
                    <a:pt x="2921000" y="25400"/>
                  </a:moveTo>
                  <a:lnTo>
                    <a:pt x="2895600" y="25400"/>
                  </a:lnTo>
                  <a:lnTo>
                    <a:pt x="2895600" y="50800"/>
                  </a:lnTo>
                  <a:lnTo>
                    <a:pt x="2921000" y="50800"/>
                  </a:lnTo>
                  <a:lnTo>
                    <a:pt x="2921000" y="25400"/>
                  </a:lnTo>
                  <a:close/>
                </a:path>
                <a:path w="8216265" h="76200">
                  <a:moveTo>
                    <a:pt x="2971800" y="25400"/>
                  </a:moveTo>
                  <a:lnTo>
                    <a:pt x="2946400" y="25400"/>
                  </a:lnTo>
                  <a:lnTo>
                    <a:pt x="2946400" y="50800"/>
                  </a:lnTo>
                  <a:lnTo>
                    <a:pt x="2971800" y="50800"/>
                  </a:lnTo>
                  <a:lnTo>
                    <a:pt x="2971800" y="25400"/>
                  </a:lnTo>
                  <a:close/>
                </a:path>
                <a:path w="8216265" h="76200">
                  <a:moveTo>
                    <a:pt x="3022600" y="25400"/>
                  </a:moveTo>
                  <a:lnTo>
                    <a:pt x="2997200" y="25400"/>
                  </a:lnTo>
                  <a:lnTo>
                    <a:pt x="2997200" y="50800"/>
                  </a:lnTo>
                  <a:lnTo>
                    <a:pt x="3022600" y="50800"/>
                  </a:lnTo>
                  <a:lnTo>
                    <a:pt x="3022600" y="25400"/>
                  </a:lnTo>
                  <a:close/>
                </a:path>
                <a:path w="8216265" h="76200">
                  <a:moveTo>
                    <a:pt x="3073400" y="25400"/>
                  </a:moveTo>
                  <a:lnTo>
                    <a:pt x="3048000" y="25400"/>
                  </a:lnTo>
                  <a:lnTo>
                    <a:pt x="3048000" y="50800"/>
                  </a:lnTo>
                  <a:lnTo>
                    <a:pt x="3073400" y="50800"/>
                  </a:lnTo>
                  <a:lnTo>
                    <a:pt x="3073400" y="25400"/>
                  </a:lnTo>
                  <a:close/>
                </a:path>
                <a:path w="8216265" h="76200">
                  <a:moveTo>
                    <a:pt x="3124200" y="25400"/>
                  </a:moveTo>
                  <a:lnTo>
                    <a:pt x="3098800" y="25400"/>
                  </a:lnTo>
                  <a:lnTo>
                    <a:pt x="3098800" y="50800"/>
                  </a:lnTo>
                  <a:lnTo>
                    <a:pt x="3124200" y="50800"/>
                  </a:lnTo>
                  <a:lnTo>
                    <a:pt x="3124200" y="25400"/>
                  </a:lnTo>
                  <a:close/>
                </a:path>
                <a:path w="8216265" h="76200">
                  <a:moveTo>
                    <a:pt x="3175000" y="25400"/>
                  </a:moveTo>
                  <a:lnTo>
                    <a:pt x="3149600" y="25400"/>
                  </a:lnTo>
                  <a:lnTo>
                    <a:pt x="3149600" y="50800"/>
                  </a:lnTo>
                  <a:lnTo>
                    <a:pt x="3175000" y="50800"/>
                  </a:lnTo>
                  <a:lnTo>
                    <a:pt x="3175000" y="25400"/>
                  </a:lnTo>
                  <a:close/>
                </a:path>
                <a:path w="8216265" h="76200">
                  <a:moveTo>
                    <a:pt x="3225800" y="25400"/>
                  </a:moveTo>
                  <a:lnTo>
                    <a:pt x="3200400" y="25400"/>
                  </a:lnTo>
                  <a:lnTo>
                    <a:pt x="3200400" y="50800"/>
                  </a:lnTo>
                  <a:lnTo>
                    <a:pt x="3225800" y="50800"/>
                  </a:lnTo>
                  <a:lnTo>
                    <a:pt x="3225800" y="25400"/>
                  </a:lnTo>
                  <a:close/>
                </a:path>
                <a:path w="8216265" h="76200">
                  <a:moveTo>
                    <a:pt x="3276600" y="25400"/>
                  </a:moveTo>
                  <a:lnTo>
                    <a:pt x="3251200" y="25400"/>
                  </a:lnTo>
                  <a:lnTo>
                    <a:pt x="3251200" y="50800"/>
                  </a:lnTo>
                  <a:lnTo>
                    <a:pt x="3276600" y="50800"/>
                  </a:lnTo>
                  <a:lnTo>
                    <a:pt x="3276600" y="25400"/>
                  </a:lnTo>
                  <a:close/>
                </a:path>
                <a:path w="8216265" h="76200">
                  <a:moveTo>
                    <a:pt x="3327400" y="25400"/>
                  </a:moveTo>
                  <a:lnTo>
                    <a:pt x="3302000" y="25400"/>
                  </a:lnTo>
                  <a:lnTo>
                    <a:pt x="3302000" y="50800"/>
                  </a:lnTo>
                  <a:lnTo>
                    <a:pt x="3327400" y="50800"/>
                  </a:lnTo>
                  <a:lnTo>
                    <a:pt x="3327400" y="25400"/>
                  </a:lnTo>
                  <a:close/>
                </a:path>
                <a:path w="8216265" h="76200">
                  <a:moveTo>
                    <a:pt x="3378200" y="25400"/>
                  </a:moveTo>
                  <a:lnTo>
                    <a:pt x="3352800" y="25400"/>
                  </a:lnTo>
                  <a:lnTo>
                    <a:pt x="3352800" y="50800"/>
                  </a:lnTo>
                  <a:lnTo>
                    <a:pt x="3378200" y="50800"/>
                  </a:lnTo>
                  <a:lnTo>
                    <a:pt x="3378200" y="25400"/>
                  </a:lnTo>
                  <a:close/>
                </a:path>
                <a:path w="8216265" h="76200">
                  <a:moveTo>
                    <a:pt x="3429000" y="25400"/>
                  </a:moveTo>
                  <a:lnTo>
                    <a:pt x="3403600" y="25400"/>
                  </a:lnTo>
                  <a:lnTo>
                    <a:pt x="3403600" y="50800"/>
                  </a:lnTo>
                  <a:lnTo>
                    <a:pt x="3429000" y="50800"/>
                  </a:lnTo>
                  <a:lnTo>
                    <a:pt x="3429000" y="25400"/>
                  </a:lnTo>
                  <a:close/>
                </a:path>
                <a:path w="8216265" h="76200">
                  <a:moveTo>
                    <a:pt x="3479800" y="25400"/>
                  </a:moveTo>
                  <a:lnTo>
                    <a:pt x="3454400" y="25400"/>
                  </a:lnTo>
                  <a:lnTo>
                    <a:pt x="3454400" y="50800"/>
                  </a:lnTo>
                  <a:lnTo>
                    <a:pt x="3479800" y="50800"/>
                  </a:lnTo>
                  <a:lnTo>
                    <a:pt x="3479800" y="25400"/>
                  </a:lnTo>
                  <a:close/>
                </a:path>
                <a:path w="8216265" h="76200">
                  <a:moveTo>
                    <a:pt x="3530600" y="25400"/>
                  </a:moveTo>
                  <a:lnTo>
                    <a:pt x="3505200" y="25400"/>
                  </a:lnTo>
                  <a:lnTo>
                    <a:pt x="3505200" y="50800"/>
                  </a:lnTo>
                  <a:lnTo>
                    <a:pt x="3530600" y="50800"/>
                  </a:lnTo>
                  <a:lnTo>
                    <a:pt x="3530600" y="25400"/>
                  </a:lnTo>
                  <a:close/>
                </a:path>
                <a:path w="8216265" h="76200">
                  <a:moveTo>
                    <a:pt x="3581400" y="25400"/>
                  </a:moveTo>
                  <a:lnTo>
                    <a:pt x="3556000" y="25400"/>
                  </a:lnTo>
                  <a:lnTo>
                    <a:pt x="3556000" y="50800"/>
                  </a:lnTo>
                  <a:lnTo>
                    <a:pt x="3581400" y="50800"/>
                  </a:lnTo>
                  <a:lnTo>
                    <a:pt x="3581400" y="25400"/>
                  </a:lnTo>
                  <a:close/>
                </a:path>
                <a:path w="8216265" h="76200">
                  <a:moveTo>
                    <a:pt x="3632200" y="25400"/>
                  </a:moveTo>
                  <a:lnTo>
                    <a:pt x="3606800" y="25400"/>
                  </a:lnTo>
                  <a:lnTo>
                    <a:pt x="3606800" y="50800"/>
                  </a:lnTo>
                  <a:lnTo>
                    <a:pt x="3632200" y="50800"/>
                  </a:lnTo>
                  <a:lnTo>
                    <a:pt x="3632200" y="25400"/>
                  </a:lnTo>
                  <a:close/>
                </a:path>
                <a:path w="8216265" h="76200">
                  <a:moveTo>
                    <a:pt x="3683000" y="25400"/>
                  </a:moveTo>
                  <a:lnTo>
                    <a:pt x="3657600" y="25400"/>
                  </a:lnTo>
                  <a:lnTo>
                    <a:pt x="3657600" y="50800"/>
                  </a:lnTo>
                  <a:lnTo>
                    <a:pt x="3683000" y="50800"/>
                  </a:lnTo>
                  <a:lnTo>
                    <a:pt x="3683000" y="25400"/>
                  </a:lnTo>
                  <a:close/>
                </a:path>
                <a:path w="8216265" h="76200">
                  <a:moveTo>
                    <a:pt x="3733800" y="25400"/>
                  </a:moveTo>
                  <a:lnTo>
                    <a:pt x="3708400" y="25400"/>
                  </a:lnTo>
                  <a:lnTo>
                    <a:pt x="3708400" y="50800"/>
                  </a:lnTo>
                  <a:lnTo>
                    <a:pt x="3733800" y="50800"/>
                  </a:lnTo>
                  <a:lnTo>
                    <a:pt x="3733800" y="25400"/>
                  </a:lnTo>
                  <a:close/>
                </a:path>
                <a:path w="8216265" h="76200">
                  <a:moveTo>
                    <a:pt x="3784600" y="25400"/>
                  </a:moveTo>
                  <a:lnTo>
                    <a:pt x="3759200" y="25400"/>
                  </a:lnTo>
                  <a:lnTo>
                    <a:pt x="3759200" y="50800"/>
                  </a:lnTo>
                  <a:lnTo>
                    <a:pt x="3784600" y="50800"/>
                  </a:lnTo>
                  <a:lnTo>
                    <a:pt x="3784600" y="25400"/>
                  </a:lnTo>
                  <a:close/>
                </a:path>
                <a:path w="8216265" h="76200">
                  <a:moveTo>
                    <a:pt x="3835400" y="25400"/>
                  </a:moveTo>
                  <a:lnTo>
                    <a:pt x="3810000" y="25400"/>
                  </a:lnTo>
                  <a:lnTo>
                    <a:pt x="3810000" y="50800"/>
                  </a:lnTo>
                  <a:lnTo>
                    <a:pt x="3835400" y="50800"/>
                  </a:lnTo>
                  <a:lnTo>
                    <a:pt x="3835400" y="25400"/>
                  </a:lnTo>
                  <a:close/>
                </a:path>
                <a:path w="8216265" h="76200">
                  <a:moveTo>
                    <a:pt x="3886200" y="25400"/>
                  </a:moveTo>
                  <a:lnTo>
                    <a:pt x="3860800" y="25400"/>
                  </a:lnTo>
                  <a:lnTo>
                    <a:pt x="3860800" y="50800"/>
                  </a:lnTo>
                  <a:lnTo>
                    <a:pt x="3886200" y="50800"/>
                  </a:lnTo>
                  <a:lnTo>
                    <a:pt x="3886200" y="25400"/>
                  </a:lnTo>
                  <a:close/>
                </a:path>
                <a:path w="8216265" h="76200">
                  <a:moveTo>
                    <a:pt x="3937000" y="25400"/>
                  </a:moveTo>
                  <a:lnTo>
                    <a:pt x="3911600" y="25400"/>
                  </a:lnTo>
                  <a:lnTo>
                    <a:pt x="3911600" y="50800"/>
                  </a:lnTo>
                  <a:lnTo>
                    <a:pt x="3937000" y="50800"/>
                  </a:lnTo>
                  <a:lnTo>
                    <a:pt x="3937000" y="25400"/>
                  </a:lnTo>
                  <a:close/>
                </a:path>
                <a:path w="8216265" h="76200">
                  <a:moveTo>
                    <a:pt x="3987800" y="25400"/>
                  </a:moveTo>
                  <a:lnTo>
                    <a:pt x="3962400" y="25400"/>
                  </a:lnTo>
                  <a:lnTo>
                    <a:pt x="3962400" y="50800"/>
                  </a:lnTo>
                  <a:lnTo>
                    <a:pt x="3987800" y="50800"/>
                  </a:lnTo>
                  <a:lnTo>
                    <a:pt x="3987800" y="25400"/>
                  </a:lnTo>
                  <a:close/>
                </a:path>
                <a:path w="8216265" h="76200">
                  <a:moveTo>
                    <a:pt x="4038600" y="25400"/>
                  </a:moveTo>
                  <a:lnTo>
                    <a:pt x="4013200" y="25400"/>
                  </a:lnTo>
                  <a:lnTo>
                    <a:pt x="4013200" y="50800"/>
                  </a:lnTo>
                  <a:lnTo>
                    <a:pt x="4038600" y="50800"/>
                  </a:lnTo>
                  <a:lnTo>
                    <a:pt x="4038600" y="25400"/>
                  </a:lnTo>
                  <a:close/>
                </a:path>
                <a:path w="8216265" h="76200">
                  <a:moveTo>
                    <a:pt x="4089400" y="25400"/>
                  </a:moveTo>
                  <a:lnTo>
                    <a:pt x="4064000" y="25400"/>
                  </a:lnTo>
                  <a:lnTo>
                    <a:pt x="4064000" y="50800"/>
                  </a:lnTo>
                  <a:lnTo>
                    <a:pt x="4089400" y="50800"/>
                  </a:lnTo>
                  <a:lnTo>
                    <a:pt x="4089400" y="25400"/>
                  </a:lnTo>
                  <a:close/>
                </a:path>
                <a:path w="8216265" h="76200">
                  <a:moveTo>
                    <a:pt x="4140200" y="25400"/>
                  </a:moveTo>
                  <a:lnTo>
                    <a:pt x="4114800" y="25400"/>
                  </a:lnTo>
                  <a:lnTo>
                    <a:pt x="4114800" y="50800"/>
                  </a:lnTo>
                  <a:lnTo>
                    <a:pt x="4140200" y="50800"/>
                  </a:lnTo>
                  <a:lnTo>
                    <a:pt x="4140200" y="25400"/>
                  </a:lnTo>
                  <a:close/>
                </a:path>
                <a:path w="8216265" h="76200">
                  <a:moveTo>
                    <a:pt x="4191000" y="25400"/>
                  </a:moveTo>
                  <a:lnTo>
                    <a:pt x="4165600" y="25400"/>
                  </a:lnTo>
                  <a:lnTo>
                    <a:pt x="4165600" y="50800"/>
                  </a:lnTo>
                  <a:lnTo>
                    <a:pt x="4191000" y="50800"/>
                  </a:lnTo>
                  <a:lnTo>
                    <a:pt x="4191000" y="25400"/>
                  </a:lnTo>
                  <a:close/>
                </a:path>
                <a:path w="8216265" h="76200">
                  <a:moveTo>
                    <a:pt x="4241800" y="25400"/>
                  </a:moveTo>
                  <a:lnTo>
                    <a:pt x="4216400" y="25400"/>
                  </a:lnTo>
                  <a:lnTo>
                    <a:pt x="4216400" y="50800"/>
                  </a:lnTo>
                  <a:lnTo>
                    <a:pt x="4241800" y="50800"/>
                  </a:lnTo>
                  <a:lnTo>
                    <a:pt x="4241800" y="25400"/>
                  </a:lnTo>
                  <a:close/>
                </a:path>
                <a:path w="8216265" h="76200">
                  <a:moveTo>
                    <a:pt x="4292600" y="25400"/>
                  </a:moveTo>
                  <a:lnTo>
                    <a:pt x="4267200" y="25400"/>
                  </a:lnTo>
                  <a:lnTo>
                    <a:pt x="4267200" y="50800"/>
                  </a:lnTo>
                  <a:lnTo>
                    <a:pt x="4292600" y="50800"/>
                  </a:lnTo>
                  <a:lnTo>
                    <a:pt x="4292600" y="25400"/>
                  </a:lnTo>
                  <a:close/>
                </a:path>
                <a:path w="8216265" h="76200">
                  <a:moveTo>
                    <a:pt x="4343400" y="25400"/>
                  </a:moveTo>
                  <a:lnTo>
                    <a:pt x="4318000" y="25400"/>
                  </a:lnTo>
                  <a:lnTo>
                    <a:pt x="4318000" y="50800"/>
                  </a:lnTo>
                  <a:lnTo>
                    <a:pt x="4343400" y="50800"/>
                  </a:lnTo>
                  <a:lnTo>
                    <a:pt x="4343400" y="25400"/>
                  </a:lnTo>
                  <a:close/>
                </a:path>
                <a:path w="8216265" h="76200">
                  <a:moveTo>
                    <a:pt x="4394200" y="25400"/>
                  </a:moveTo>
                  <a:lnTo>
                    <a:pt x="4368800" y="25400"/>
                  </a:lnTo>
                  <a:lnTo>
                    <a:pt x="4368800" y="50800"/>
                  </a:lnTo>
                  <a:lnTo>
                    <a:pt x="4394200" y="50800"/>
                  </a:lnTo>
                  <a:lnTo>
                    <a:pt x="4394200" y="25400"/>
                  </a:lnTo>
                  <a:close/>
                </a:path>
                <a:path w="8216265" h="76200">
                  <a:moveTo>
                    <a:pt x="4445000" y="25400"/>
                  </a:moveTo>
                  <a:lnTo>
                    <a:pt x="4419600" y="25400"/>
                  </a:lnTo>
                  <a:lnTo>
                    <a:pt x="4419600" y="50800"/>
                  </a:lnTo>
                  <a:lnTo>
                    <a:pt x="4445000" y="50800"/>
                  </a:lnTo>
                  <a:lnTo>
                    <a:pt x="4445000" y="25400"/>
                  </a:lnTo>
                  <a:close/>
                </a:path>
                <a:path w="8216265" h="76200">
                  <a:moveTo>
                    <a:pt x="4495800" y="25400"/>
                  </a:moveTo>
                  <a:lnTo>
                    <a:pt x="4470400" y="25400"/>
                  </a:lnTo>
                  <a:lnTo>
                    <a:pt x="4470400" y="50800"/>
                  </a:lnTo>
                  <a:lnTo>
                    <a:pt x="4495800" y="50800"/>
                  </a:lnTo>
                  <a:lnTo>
                    <a:pt x="4495800" y="25400"/>
                  </a:lnTo>
                  <a:close/>
                </a:path>
                <a:path w="8216265" h="76200">
                  <a:moveTo>
                    <a:pt x="4546600" y="25400"/>
                  </a:moveTo>
                  <a:lnTo>
                    <a:pt x="4521200" y="25400"/>
                  </a:lnTo>
                  <a:lnTo>
                    <a:pt x="4521200" y="50800"/>
                  </a:lnTo>
                  <a:lnTo>
                    <a:pt x="4546600" y="50800"/>
                  </a:lnTo>
                  <a:lnTo>
                    <a:pt x="4546600" y="25400"/>
                  </a:lnTo>
                  <a:close/>
                </a:path>
                <a:path w="8216265" h="76200">
                  <a:moveTo>
                    <a:pt x="4597400" y="25400"/>
                  </a:moveTo>
                  <a:lnTo>
                    <a:pt x="4572000" y="25400"/>
                  </a:lnTo>
                  <a:lnTo>
                    <a:pt x="4572000" y="50800"/>
                  </a:lnTo>
                  <a:lnTo>
                    <a:pt x="4597400" y="50800"/>
                  </a:lnTo>
                  <a:lnTo>
                    <a:pt x="4597400" y="25400"/>
                  </a:lnTo>
                  <a:close/>
                </a:path>
                <a:path w="8216265" h="76200">
                  <a:moveTo>
                    <a:pt x="4648200" y="25400"/>
                  </a:moveTo>
                  <a:lnTo>
                    <a:pt x="4622800" y="25400"/>
                  </a:lnTo>
                  <a:lnTo>
                    <a:pt x="4622800" y="50800"/>
                  </a:lnTo>
                  <a:lnTo>
                    <a:pt x="4648200" y="50800"/>
                  </a:lnTo>
                  <a:lnTo>
                    <a:pt x="4648200" y="25400"/>
                  </a:lnTo>
                  <a:close/>
                </a:path>
                <a:path w="8216265" h="76200">
                  <a:moveTo>
                    <a:pt x="4699000" y="25400"/>
                  </a:moveTo>
                  <a:lnTo>
                    <a:pt x="4673600" y="25400"/>
                  </a:lnTo>
                  <a:lnTo>
                    <a:pt x="4673600" y="50800"/>
                  </a:lnTo>
                  <a:lnTo>
                    <a:pt x="4699000" y="50800"/>
                  </a:lnTo>
                  <a:lnTo>
                    <a:pt x="4699000" y="25400"/>
                  </a:lnTo>
                  <a:close/>
                </a:path>
                <a:path w="8216265" h="76200">
                  <a:moveTo>
                    <a:pt x="4749800" y="25400"/>
                  </a:moveTo>
                  <a:lnTo>
                    <a:pt x="4724400" y="25400"/>
                  </a:lnTo>
                  <a:lnTo>
                    <a:pt x="4724400" y="50800"/>
                  </a:lnTo>
                  <a:lnTo>
                    <a:pt x="4749800" y="50800"/>
                  </a:lnTo>
                  <a:lnTo>
                    <a:pt x="4749800" y="25400"/>
                  </a:lnTo>
                  <a:close/>
                </a:path>
                <a:path w="8216265" h="76200">
                  <a:moveTo>
                    <a:pt x="4800600" y="25400"/>
                  </a:moveTo>
                  <a:lnTo>
                    <a:pt x="4775200" y="25400"/>
                  </a:lnTo>
                  <a:lnTo>
                    <a:pt x="4775200" y="50800"/>
                  </a:lnTo>
                  <a:lnTo>
                    <a:pt x="4800600" y="50800"/>
                  </a:lnTo>
                  <a:lnTo>
                    <a:pt x="4800600" y="25400"/>
                  </a:lnTo>
                  <a:close/>
                </a:path>
                <a:path w="8216265" h="76200">
                  <a:moveTo>
                    <a:pt x="4851400" y="25400"/>
                  </a:moveTo>
                  <a:lnTo>
                    <a:pt x="4826000" y="25400"/>
                  </a:lnTo>
                  <a:lnTo>
                    <a:pt x="4826000" y="50800"/>
                  </a:lnTo>
                  <a:lnTo>
                    <a:pt x="4851400" y="50800"/>
                  </a:lnTo>
                  <a:lnTo>
                    <a:pt x="4851400" y="25400"/>
                  </a:lnTo>
                  <a:close/>
                </a:path>
                <a:path w="8216265" h="76200">
                  <a:moveTo>
                    <a:pt x="4902200" y="25400"/>
                  </a:moveTo>
                  <a:lnTo>
                    <a:pt x="4876800" y="25400"/>
                  </a:lnTo>
                  <a:lnTo>
                    <a:pt x="4876800" y="50800"/>
                  </a:lnTo>
                  <a:lnTo>
                    <a:pt x="4902200" y="50800"/>
                  </a:lnTo>
                  <a:lnTo>
                    <a:pt x="4902200" y="25400"/>
                  </a:lnTo>
                  <a:close/>
                </a:path>
                <a:path w="8216265" h="76200">
                  <a:moveTo>
                    <a:pt x="4953000" y="25400"/>
                  </a:moveTo>
                  <a:lnTo>
                    <a:pt x="4927600" y="25400"/>
                  </a:lnTo>
                  <a:lnTo>
                    <a:pt x="4927600" y="50800"/>
                  </a:lnTo>
                  <a:lnTo>
                    <a:pt x="4953000" y="50800"/>
                  </a:lnTo>
                  <a:lnTo>
                    <a:pt x="4953000" y="25400"/>
                  </a:lnTo>
                  <a:close/>
                </a:path>
                <a:path w="8216265" h="76200">
                  <a:moveTo>
                    <a:pt x="5003800" y="25400"/>
                  </a:moveTo>
                  <a:lnTo>
                    <a:pt x="4978400" y="25400"/>
                  </a:lnTo>
                  <a:lnTo>
                    <a:pt x="4978400" y="50800"/>
                  </a:lnTo>
                  <a:lnTo>
                    <a:pt x="5003800" y="50800"/>
                  </a:lnTo>
                  <a:lnTo>
                    <a:pt x="5003800" y="25400"/>
                  </a:lnTo>
                  <a:close/>
                </a:path>
                <a:path w="8216265" h="76200">
                  <a:moveTo>
                    <a:pt x="5054600" y="25400"/>
                  </a:moveTo>
                  <a:lnTo>
                    <a:pt x="5029200" y="25400"/>
                  </a:lnTo>
                  <a:lnTo>
                    <a:pt x="5029200" y="50800"/>
                  </a:lnTo>
                  <a:lnTo>
                    <a:pt x="5054600" y="50800"/>
                  </a:lnTo>
                  <a:lnTo>
                    <a:pt x="5054600" y="25400"/>
                  </a:lnTo>
                  <a:close/>
                </a:path>
                <a:path w="8216265" h="76200">
                  <a:moveTo>
                    <a:pt x="5105400" y="25400"/>
                  </a:moveTo>
                  <a:lnTo>
                    <a:pt x="5080000" y="25400"/>
                  </a:lnTo>
                  <a:lnTo>
                    <a:pt x="5080000" y="50800"/>
                  </a:lnTo>
                  <a:lnTo>
                    <a:pt x="5105400" y="50800"/>
                  </a:lnTo>
                  <a:lnTo>
                    <a:pt x="5105400" y="25400"/>
                  </a:lnTo>
                  <a:close/>
                </a:path>
                <a:path w="8216265" h="76200">
                  <a:moveTo>
                    <a:pt x="5156200" y="25400"/>
                  </a:moveTo>
                  <a:lnTo>
                    <a:pt x="5130800" y="25400"/>
                  </a:lnTo>
                  <a:lnTo>
                    <a:pt x="5130800" y="50800"/>
                  </a:lnTo>
                  <a:lnTo>
                    <a:pt x="5156200" y="50800"/>
                  </a:lnTo>
                  <a:lnTo>
                    <a:pt x="5156200" y="25400"/>
                  </a:lnTo>
                  <a:close/>
                </a:path>
                <a:path w="8216265" h="76200">
                  <a:moveTo>
                    <a:pt x="5207000" y="25400"/>
                  </a:moveTo>
                  <a:lnTo>
                    <a:pt x="5181600" y="25400"/>
                  </a:lnTo>
                  <a:lnTo>
                    <a:pt x="5181600" y="50800"/>
                  </a:lnTo>
                  <a:lnTo>
                    <a:pt x="5207000" y="50800"/>
                  </a:lnTo>
                  <a:lnTo>
                    <a:pt x="5207000" y="25400"/>
                  </a:lnTo>
                  <a:close/>
                </a:path>
                <a:path w="8216265" h="76200">
                  <a:moveTo>
                    <a:pt x="5257800" y="25400"/>
                  </a:moveTo>
                  <a:lnTo>
                    <a:pt x="5232400" y="25400"/>
                  </a:lnTo>
                  <a:lnTo>
                    <a:pt x="5232400" y="50800"/>
                  </a:lnTo>
                  <a:lnTo>
                    <a:pt x="5257800" y="50800"/>
                  </a:lnTo>
                  <a:lnTo>
                    <a:pt x="5257800" y="25400"/>
                  </a:lnTo>
                  <a:close/>
                </a:path>
                <a:path w="8216265" h="76200">
                  <a:moveTo>
                    <a:pt x="5308600" y="25400"/>
                  </a:moveTo>
                  <a:lnTo>
                    <a:pt x="5283200" y="25400"/>
                  </a:lnTo>
                  <a:lnTo>
                    <a:pt x="5283200" y="50800"/>
                  </a:lnTo>
                  <a:lnTo>
                    <a:pt x="5308600" y="50800"/>
                  </a:lnTo>
                  <a:lnTo>
                    <a:pt x="5308600" y="25400"/>
                  </a:lnTo>
                  <a:close/>
                </a:path>
                <a:path w="8216265" h="76200">
                  <a:moveTo>
                    <a:pt x="5359400" y="25400"/>
                  </a:moveTo>
                  <a:lnTo>
                    <a:pt x="5334000" y="25400"/>
                  </a:lnTo>
                  <a:lnTo>
                    <a:pt x="5334000" y="50800"/>
                  </a:lnTo>
                  <a:lnTo>
                    <a:pt x="5359400" y="50800"/>
                  </a:lnTo>
                  <a:lnTo>
                    <a:pt x="5359400" y="25400"/>
                  </a:lnTo>
                  <a:close/>
                </a:path>
                <a:path w="8216265" h="76200">
                  <a:moveTo>
                    <a:pt x="5410200" y="25400"/>
                  </a:moveTo>
                  <a:lnTo>
                    <a:pt x="5384800" y="25400"/>
                  </a:lnTo>
                  <a:lnTo>
                    <a:pt x="5384800" y="50800"/>
                  </a:lnTo>
                  <a:lnTo>
                    <a:pt x="5410200" y="50800"/>
                  </a:lnTo>
                  <a:lnTo>
                    <a:pt x="5410200" y="25400"/>
                  </a:lnTo>
                  <a:close/>
                </a:path>
                <a:path w="8216265" h="76200">
                  <a:moveTo>
                    <a:pt x="5461000" y="25400"/>
                  </a:moveTo>
                  <a:lnTo>
                    <a:pt x="5435600" y="25400"/>
                  </a:lnTo>
                  <a:lnTo>
                    <a:pt x="5435600" y="50800"/>
                  </a:lnTo>
                  <a:lnTo>
                    <a:pt x="5461000" y="50800"/>
                  </a:lnTo>
                  <a:lnTo>
                    <a:pt x="5461000" y="25400"/>
                  </a:lnTo>
                  <a:close/>
                </a:path>
                <a:path w="8216265" h="76200">
                  <a:moveTo>
                    <a:pt x="5511800" y="25400"/>
                  </a:moveTo>
                  <a:lnTo>
                    <a:pt x="5486400" y="25400"/>
                  </a:lnTo>
                  <a:lnTo>
                    <a:pt x="5486400" y="50800"/>
                  </a:lnTo>
                  <a:lnTo>
                    <a:pt x="5511800" y="50800"/>
                  </a:lnTo>
                  <a:lnTo>
                    <a:pt x="5511800" y="25400"/>
                  </a:lnTo>
                  <a:close/>
                </a:path>
                <a:path w="8216265" h="76200">
                  <a:moveTo>
                    <a:pt x="5562600" y="25400"/>
                  </a:moveTo>
                  <a:lnTo>
                    <a:pt x="5537200" y="25400"/>
                  </a:lnTo>
                  <a:lnTo>
                    <a:pt x="5537200" y="50800"/>
                  </a:lnTo>
                  <a:lnTo>
                    <a:pt x="5562600" y="50800"/>
                  </a:lnTo>
                  <a:lnTo>
                    <a:pt x="5562600" y="25400"/>
                  </a:lnTo>
                  <a:close/>
                </a:path>
                <a:path w="8216265" h="76200">
                  <a:moveTo>
                    <a:pt x="5613400" y="25400"/>
                  </a:moveTo>
                  <a:lnTo>
                    <a:pt x="5588000" y="25400"/>
                  </a:lnTo>
                  <a:lnTo>
                    <a:pt x="5588000" y="50800"/>
                  </a:lnTo>
                  <a:lnTo>
                    <a:pt x="5613400" y="50800"/>
                  </a:lnTo>
                  <a:lnTo>
                    <a:pt x="5613400" y="25400"/>
                  </a:lnTo>
                  <a:close/>
                </a:path>
                <a:path w="8216265" h="76200">
                  <a:moveTo>
                    <a:pt x="5664200" y="25400"/>
                  </a:moveTo>
                  <a:lnTo>
                    <a:pt x="5638800" y="25400"/>
                  </a:lnTo>
                  <a:lnTo>
                    <a:pt x="5638800" y="50800"/>
                  </a:lnTo>
                  <a:lnTo>
                    <a:pt x="5664200" y="50800"/>
                  </a:lnTo>
                  <a:lnTo>
                    <a:pt x="5664200" y="25400"/>
                  </a:lnTo>
                  <a:close/>
                </a:path>
                <a:path w="8216265" h="76200">
                  <a:moveTo>
                    <a:pt x="5715000" y="25400"/>
                  </a:moveTo>
                  <a:lnTo>
                    <a:pt x="5689600" y="25400"/>
                  </a:lnTo>
                  <a:lnTo>
                    <a:pt x="5689600" y="50800"/>
                  </a:lnTo>
                  <a:lnTo>
                    <a:pt x="5715000" y="50800"/>
                  </a:lnTo>
                  <a:lnTo>
                    <a:pt x="5715000" y="25400"/>
                  </a:lnTo>
                  <a:close/>
                </a:path>
                <a:path w="8216265" h="76200">
                  <a:moveTo>
                    <a:pt x="5765800" y="25400"/>
                  </a:moveTo>
                  <a:lnTo>
                    <a:pt x="5740400" y="25400"/>
                  </a:lnTo>
                  <a:lnTo>
                    <a:pt x="5740400" y="50800"/>
                  </a:lnTo>
                  <a:lnTo>
                    <a:pt x="5765800" y="50800"/>
                  </a:lnTo>
                  <a:lnTo>
                    <a:pt x="5765800" y="25400"/>
                  </a:lnTo>
                  <a:close/>
                </a:path>
                <a:path w="8216265" h="76200">
                  <a:moveTo>
                    <a:pt x="5816600" y="25400"/>
                  </a:moveTo>
                  <a:lnTo>
                    <a:pt x="5791200" y="25400"/>
                  </a:lnTo>
                  <a:lnTo>
                    <a:pt x="5791200" y="50800"/>
                  </a:lnTo>
                  <a:lnTo>
                    <a:pt x="5816600" y="50800"/>
                  </a:lnTo>
                  <a:lnTo>
                    <a:pt x="5816600" y="25400"/>
                  </a:lnTo>
                  <a:close/>
                </a:path>
                <a:path w="8216265" h="76200">
                  <a:moveTo>
                    <a:pt x="5867400" y="25400"/>
                  </a:moveTo>
                  <a:lnTo>
                    <a:pt x="5842000" y="25400"/>
                  </a:lnTo>
                  <a:lnTo>
                    <a:pt x="5842000" y="50800"/>
                  </a:lnTo>
                  <a:lnTo>
                    <a:pt x="5867400" y="50800"/>
                  </a:lnTo>
                  <a:lnTo>
                    <a:pt x="5867400" y="25400"/>
                  </a:lnTo>
                  <a:close/>
                </a:path>
                <a:path w="8216265" h="76200">
                  <a:moveTo>
                    <a:pt x="5918200" y="25400"/>
                  </a:moveTo>
                  <a:lnTo>
                    <a:pt x="5892800" y="25400"/>
                  </a:lnTo>
                  <a:lnTo>
                    <a:pt x="5892800" y="50800"/>
                  </a:lnTo>
                  <a:lnTo>
                    <a:pt x="5918200" y="50800"/>
                  </a:lnTo>
                  <a:lnTo>
                    <a:pt x="5918200" y="25400"/>
                  </a:lnTo>
                  <a:close/>
                </a:path>
                <a:path w="8216265" h="76200">
                  <a:moveTo>
                    <a:pt x="5969000" y="25400"/>
                  </a:moveTo>
                  <a:lnTo>
                    <a:pt x="5943600" y="25400"/>
                  </a:lnTo>
                  <a:lnTo>
                    <a:pt x="5943600" y="50800"/>
                  </a:lnTo>
                  <a:lnTo>
                    <a:pt x="5969000" y="50800"/>
                  </a:lnTo>
                  <a:lnTo>
                    <a:pt x="5969000" y="25400"/>
                  </a:lnTo>
                  <a:close/>
                </a:path>
                <a:path w="8216265" h="76200">
                  <a:moveTo>
                    <a:pt x="6019800" y="25400"/>
                  </a:moveTo>
                  <a:lnTo>
                    <a:pt x="5994400" y="25400"/>
                  </a:lnTo>
                  <a:lnTo>
                    <a:pt x="5994400" y="50800"/>
                  </a:lnTo>
                  <a:lnTo>
                    <a:pt x="6019800" y="50800"/>
                  </a:lnTo>
                  <a:lnTo>
                    <a:pt x="6019800" y="25400"/>
                  </a:lnTo>
                  <a:close/>
                </a:path>
                <a:path w="8216265" h="76200">
                  <a:moveTo>
                    <a:pt x="6070600" y="25400"/>
                  </a:moveTo>
                  <a:lnTo>
                    <a:pt x="6045200" y="25400"/>
                  </a:lnTo>
                  <a:lnTo>
                    <a:pt x="6045200" y="50800"/>
                  </a:lnTo>
                  <a:lnTo>
                    <a:pt x="6070600" y="50800"/>
                  </a:lnTo>
                  <a:lnTo>
                    <a:pt x="6070600" y="25400"/>
                  </a:lnTo>
                  <a:close/>
                </a:path>
                <a:path w="8216265" h="76200">
                  <a:moveTo>
                    <a:pt x="6121400" y="25400"/>
                  </a:moveTo>
                  <a:lnTo>
                    <a:pt x="6096000" y="25400"/>
                  </a:lnTo>
                  <a:lnTo>
                    <a:pt x="6096000" y="50800"/>
                  </a:lnTo>
                  <a:lnTo>
                    <a:pt x="6121400" y="50800"/>
                  </a:lnTo>
                  <a:lnTo>
                    <a:pt x="6121400" y="25400"/>
                  </a:lnTo>
                  <a:close/>
                </a:path>
                <a:path w="8216265" h="76200">
                  <a:moveTo>
                    <a:pt x="6172200" y="25400"/>
                  </a:moveTo>
                  <a:lnTo>
                    <a:pt x="6146800" y="25400"/>
                  </a:lnTo>
                  <a:lnTo>
                    <a:pt x="6146800" y="50800"/>
                  </a:lnTo>
                  <a:lnTo>
                    <a:pt x="6172200" y="50800"/>
                  </a:lnTo>
                  <a:lnTo>
                    <a:pt x="6172200" y="25400"/>
                  </a:lnTo>
                  <a:close/>
                </a:path>
                <a:path w="8216265" h="76200">
                  <a:moveTo>
                    <a:pt x="6223000" y="25400"/>
                  </a:moveTo>
                  <a:lnTo>
                    <a:pt x="6197600" y="25400"/>
                  </a:lnTo>
                  <a:lnTo>
                    <a:pt x="6197600" y="50800"/>
                  </a:lnTo>
                  <a:lnTo>
                    <a:pt x="6223000" y="50800"/>
                  </a:lnTo>
                  <a:lnTo>
                    <a:pt x="6223000" y="25400"/>
                  </a:lnTo>
                  <a:close/>
                </a:path>
                <a:path w="8216265" h="76200">
                  <a:moveTo>
                    <a:pt x="6273800" y="25400"/>
                  </a:moveTo>
                  <a:lnTo>
                    <a:pt x="6248400" y="25400"/>
                  </a:lnTo>
                  <a:lnTo>
                    <a:pt x="6248400" y="50800"/>
                  </a:lnTo>
                  <a:lnTo>
                    <a:pt x="6273800" y="50800"/>
                  </a:lnTo>
                  <a:lnTo>
                    <a:pt x="6273800" y="25400"/>
                  </a:lnTo>
                  <a:close/>
                </a:path>
                <a:path w="8216265" h="76200">
                  <a:moveTo>
                    <a:pt x="6324600" y="25400"/>
                  </a:moveTo>
                  <a:lnTo>
                    <a:pt x="6299200" y="25400"/>
                  </a:lnTo>
                  <a:lnTo>
                    <a:pt x="6299200" y="50800"/>
                  </a:lnTo>
                  <a:lnTo>
                    <a:pt x="6324600" y="50800"/>
                  </a:lnTo>
                  <a:lnTo>
                    <a:pt x="6324600" y="25400"/>
                  </a:lnTo>
                  <a:close/>
                </a:path>
                <a:path w="8216265" h="76200">
                  <a:moveTo>
                    <a:pt x="6375400" y="25400"/>
                  </a:moveTo>
                  <a:lnTo>
                    <a:pt x="6350000" y="25400"/>
                  </a:lnTo>
                  <a:lnTo>
                    <a:pt x="6350000" y="50800"/>
                  </a:lnTo>
                  <a:lnTo>
                    <a:pt x="6375400" y="50800"/>
                  </a:lnTo>
                  <a:lnTo>
                    <a:pt x="6375400" y="25400"/>
                  </a:lnTo>
                  <a:close/>
                </a:path>
                <a:path w="8216265" h="76200">
                  <a:moveTo>
                    <a:pt x="6426200" y="25400"/>
                  </a:moveTo>
                  <a:lnTo>
                    <a:pt x="6400800" y="25400"/>
                  </a:lnTo>
                  <a:lnTo>
                    <a:pt x="6400800" y="50800"/>
                  </a:lnTo>
                  <a:lnTo>
                    <a:pt x="6426200" y="50800"/>
                  </a:lnTo>
                  <a:lnTo>
                    <a:pt x="6426200" y="25400"/>
                  </a:lnTo>
                  <a:close/>
                </a:path>
                <a:path w="8216265" h="76200">
                  <a:moveTo>
                    <a:pt x="6477000" y="25400"/>
                  </a:moveTo>
                  <a:lnTo>
                    <a:pt x="6451600" y="25400"/>
                  </a:lnTo>
                  <a:lnTo>
                    <a:pt x="6451600" y="50800"/>
                  </a:lnTo>
                  <a:lnTo>
                    <a:pt x="6477000" y="50800"/>
                  </a:lnTo>
                  <a:lnTo>
                    <a:pt x="6477000" y="25400"/>
                  </a:lnTo>
                  <a:close/>
                </a:path>
                <a:path w="8216265" h="76200">
                  <a:moveTo>
                    <a:pt x="6527800" y="25400"/>
                  </a:moveTo>
                  <a:lnTo>
                    <a:pt x="6502400" y="25400"/>
                  </a:lnTo>
                  <a:lnTo>
                    <a:pt x="6502400" y="50800"/>
                  </a:lnTo>
                  <a:lnTo>
                    <a:pt x="6527800" y="50800"/>
                  </a:lnTo>
                  <a:lnTo>
                    <a:pt x="6527800" y="25400"/>
                  </a:lnTo>
                  <a:close/>
                </a:path>
                <a:path w="8216265" h="76200">
                  <a:moveTo>
                    <a:pt x="6578600" y="25400"/>
                  </a:moveTo>
                  <a:lnTo>
                    <a:pt x="6553200" y="25400"/>
                  </a:lnTo>
                  <a:lnTo>
                    <a:pt x="6553200" y="50800"/>
                  </a:lnTo>
                  <a:lnTo>
                    <a:pt x="6578600" y="50800"/>
                  </a:lnTo>
                  <a:lnTo>
                    <a:pt x="6578600" y="25400"/>
                  </a:lnTo>
                  <a:close/>
                </a:path>
                <a:path w="8216265" h="76200">
                  <a:moveTo>
                    <a:pt x="6629400" y="25400"/>
                  </a:moveTo>
                  <a:lnTo>
                    <a:pt x="6604000" y="25400"/>
                  </a:lnTo>
                  <a:lnTo>
                    <a:pt x="6604000" y="50800"/>
                  </a:lnTo>
                  <a:lnTo>
                    <a:pt x="6629400" y="50800"/>
                  </a:lnTo>
                  <a:lnTo>
                    <a:pt x="6629400" y="25400"/>
                  </a:lnTo>
                  <a:close/>
                </a:path>
                <a:path w="8216265" h="76200">
                  <a:moveTo>
                    <a:pt x="6680200" y="25400"/>
                  </a:moveTo>
                  <a:lnTo>
                    <a:pt x="6654800" y="25400"/>
                  </a:lnTo>
                  <a:lnTo>
                    <a:pt x="6654800" y="50800"/>
                  </a:lnTo>
                  <a:lnTo>
                    <a:pt x="6680200" y="50800"/>
                  </a:lnTo>
                  <a:lnTo>
                    <a:pt x="6680200" y="25400"/>
                  </a:lnTo>
                  <a:close/>
                </a:path>
                <a:path w="8216265" h="76200">
                  <a:moveTo>
                    <a:pt x="6731000" y="25400"/>
                  </a:moveTo>
                  <a:lnTo>
                    <a:pt x="6705600" y="25400"/>
                  </a:lnTo>
                  <a:lnTo>
                    <a:pt x="6705600" y="50800"/>
                  </a:lnTo>
                  <a:lnTo>
                    <a:pt x="6731000" y="50800"/>
                  </a:lnTo>
                  <a:lnTo>
                    <a:pt x="6731000" y="25400"/>
                  </a:lnTo>
                  <a:close/>
                </a:path>
                <a:path w="8216265" h="76200">
                  <a:moveTo>
                    <a:pt x="6781800" y="25400"/>
                  </a:moveTo>
                  <a:lnTo>
                    <a:pt x="6756400" y="25400"/>
                  </a:lnTo>
                  <a:lnTo>
                    <a:pt x="6756400" y="50800"/>
                  </a:lnTo>
                  <a:lnTo>
                    <a:pt x="6781800" y="50800"/>
                  </a:lnTo>
                  <a:lnTo>
                    <a:pt x="6781800" y="25400"/>
                  </a:lnTo>
                  <a:close/>
                </a:path>
                <a:path w="8216265" h="76200">
                  <a:moveTo>
                    <a:pt x="6832600" y="25400"/>
                  </a:moveTo>
                  <a:lnTo>
                    <a:pt x="6807200" y="25400"/>
                  </a:lnTo>
                  <a:lnTo>
                    <a:pt x="6807200" y="50800"/>
                  </a:lnTo>
                  <a:lnTo>
                    <a:pt x="6832600" y="50800"/>
                  </a:lnTo>
                  <a:lnTo>
                    <a:pt x="6832600" y="25400"/>
                  </a:lnTo>
                  <a:close/>
                </a:path>
                <a:path w="8216265" h="76200">
                  <a:moveTo>
                    <a:pt x="6883400" y="25400"/>
                  </a:moveTo>
                  <a:lnTo>
                    <a:pt x="6858000" y="25400"/>
                  </a:lnTo>
                  <a:lnTo>
                    <a:pt x="6858000" y="50800"/>
                  </a:lnTo>
                  <a:lnTo>
                    <a:pt x="6883400" y="50800"/>
                  </a:lnTo>
                  <a:lnTo>
                    <a:pt x="6883400" y="25400"/>
                  </a:lnTo>
                  <a:close/>
                </a:path>
                <a:path w="8216265" h="76200">
                  <a:moveTo>
                    <a:pt x="6934200" y="25400"/>
                  </a:moveTo>
                  <a:lnTo>
                    <a:pt x="6908800" y="25400"/>
                  </a:lnTo>
                  <a:lnTo>
                    <a:pt x="6908800" y="50800"/>
                  </a:lnTo>
                  <a:lnTo>
                    <a:pt x="6934200" y="50800"/>
                  </a:lnTo>
                  <a:lnTo>
                    <a:pt x="6934200" y="25400"/>
                  </a:lnTo>
                  <a:close/>
                </a:path>
                <a:path w="8216265" h="76200">
                  <a:moveTo>
                    <a:pt x="6985000" y="25400"/>
                  </a:moveTo>
                  <a:lnTo>
                    <a:pt x="6959600" y="25400"/>
                  </a:lnTo>
                  <a:lnTo>
                    <a:pt x="6959600" y="50800"/>
                  </a:lnTo>
                  <a:lnTo>
                    <a:pt x="6985000" y="50800"/>
                  </a:lnTo>
                  <a:lnTo>
                    <a:pt x="6985000" y="25400"/>
                  </a:lnTo>
                  <a:close/>
                </a:path>
                <a:path w="8216265" h="76200">
                  <a:moveTo>
                    <a:pt x="7035800" y="25400"/>
                  </a:moveTo>
                  <a:lnTo>
                    <a:pt x="7010400" y="25400"/>
                  </a:lnTo>
                  <a:lnTo>
                    <a:pt x="7010400" y="50800"/>
                  </a:lnTo>
                  <a:lnTo>
                    <a:pt x="7035800" y="50800"/>
                  </a:lnTo>
                  <a:lnTo>
                    <a:pt x="7035800" y="25400"/>
                  </a:lnTo>
                  <a:close/>
                </a:path>
                <a:path w="8216265" h="76200">
                  <a:moveTo>
                    <a:pt x="7086600" y="25400"/>
                  </a:moveTo>
                  <a:lnTo>
                    <a:pt x="7061200" y="25400"/>
                  </a:lnTo>
                  <a:lnTo>
                    <a:pt x="7061200" y="50800"/>
                  </a:lnTo>
                  <a:lnTo>
                    <a:pt x="7086600" y="50800"/>
                  </a:lnTo>
                  <a:lnTo>
                    <a:pt x="7086600" y="25400"/>
                  </a:lnTo>
                  <a:close/>
                </a:path>
                <a:path w="8216265" h="76200">
                  <a:moveTo>
                    <a:pt x="7137400" y="25400"/>
                  </a:moveTo>
                  <a:lnTo>
                    <a:pt x="7112000" y="25400"/>
                  </a:lnTo>
                  <a:lnTo>
                    <a:pt x="7112000" y="50800"/>
                  </a:lnTo>
                  <a:lnTo>
                    <a:pt x="7137400" y="50800"/>
                  </a:lnTo>
                  <a:lnTo>
                    <a:pt x="7137400" y="25400"/>
                  </a:lnTo>
                  <a:close/>
                </a:path>
                <a:path w="8216265" h="76200">
                  <a:moveTo>
                    <a:pt x="7188200" y="25400"/>
                  </a:moveTo>
                  <a:lnTo>
                    <a:pt x="7162800" y="25400"/>
                  </a:lnTo>
                  <a:lnTo>
                    <a:pt x="7162800" y="50800"/>
                  </a:lnTo>
                  <a:lnTo>
                    <a:pt x="7188200" y="50800"/>
                  </a:lnTo>
                  <a:lnTo>
                    <a:pt x="7188200" y="25400"/>
                  </a:lnTo>
                  <a:close/>
                </a:path>
                <a:path w="8216265" h="76200">
                  <a:moveTo>
                    <a:pt x="7239000" y="25400"/>
                  </a:moveTo>
                  <a:lnTo>
                    <a:pt x="7213600" y="25400"/>
                  </a:lnTo>
                  <a:lnTo>
                    <a:pt x="7213600" y="50800"/>
                  </a:lnTo>
                  <a:lnTo>
                    <a:pt x="7239000" y="50800"/>
                  </a:lnTo>
                  <a:lnTo>
                    <a:pt x="7239000" y="25400"/>
                  </a:lnTo>
                  <a:close/>
                </a:path>
                <a:path w="8216265" h="76200">
                  <a:moveTo>
                    <a:pt x="7289800" y="25400"/>
                  </a:moveTo>
                  <a:lnTo>
                    <a:pt x="7264400" y="25400"/>
                  </a:lnTo>
                  <a:lnTo>
                    <a:pt x="7264400" y="50800"/>
                  </a:lnTo>
                  <a:lnTo>
                    <a:pt x="7289800" y="50800"/>
                  </a:lnTo>
                  <a:lnTo>
                    <a:pt x="7289800" y="25400"/>
                  </a:lnTo>
                  <a:close/>
                </a:path>
                <a:path w="8216265" h="76200">
                  <a:moveTo>
                    <a:pt x="7340600" y="25400"/>
                  </a:moveTo>
                  <a:lnTo>
                    <a:pt x="7315200" y="25400"/>
                  </a:lnTo>
                  <a:lnTo>
                    <a:pt x="7315200" y="50800"/>
                  </a:lnTo>
                  <a:lnTo>
                    <a:pt x="7340600" y="50800"/>
                  </a:lnTo>
                  <a:lnTo>
                    <a:pt x="7340600" y="25400"/>
                  </a:lnTo>
                  <a:close/>
                </a:path>
                <a:path w="8216265" h="76200">
                  <a:moveTo>
                    <a:pt x="7391400" y="25400"/>
                  </a:moveTo>
                  <a:lnTo>
                    <a:pt x="7366000" y="25400"/>
                  </a:lnTo>
                  <a:lnTo>
                    <a:pt x="7366000" y="50800"/>
                  </a:lnTo>
                  <a:lnTo>
                    <a:pt x="7391400" y="50800"/>
                  </a:lnTo>
                  <a:lnTo>
                    <a:pt x="7391400" y="25400"/>
                  </a:lnTo>
                  <a:close/>
                </a:path>
                <a:path w="8216265" h="76200">
                  <a:moveTo>
                    <a:pt x="7442200" y="25400"/>
                  </a:moveTo>
                  <a:lnTo>
                    <a:pt x="7416800" y="25400"/>
                  </a:lnTo>
                  <a:lnTo>
                    <a:pt x="7416800" y="50800"/>
                  </a:lnTo>
                  <a:lnTo>
                    <a:pt x="7442200" y="50800"/>
                  </a:lnTo>
                  <a:lnTo>
                    <a:pt x="7442200" y="25400"/>
                  </a:lnTo>
                  <a:close/>
                </a:path>
                <a:path w="8216265" h="76200">
                  <a:moveTo>
                    <a:pt x="7493000" y="25400"/>
                  </a:moveTo>
                  <a:lnTo>
                    <a:pt x="7467600" y="25400"/>
                  </a:lnTo>
                  <a:lnTo>
                    <a:pt x="7467600" y="50800"/>
                  </a:lnTo>
                  <a:lnTo>
                    <a:pt x="7493000" y="50800"/>
                  </a:lnTo>
                  <a:lnTo>
                    <a:pt x="7493000" y="25400"/>
                  </a:lnTo>
                  <a:close/>
                </a:path>
                <a:path w="8216265" h="76200">
                  <a:moveTo>
                    <a:pt x="7543800" y="25400"/>
                  </a:moveTo>
                  <a:lnTo>
                    <a:pt x="7518400" y="25400"/>
                  </a:lnTo>
                  <a:lnTo>
                    <a:pt x="7518400" y="50800"/>
                  </a:lnTo>
                  <a:lnTo>
                    <a:pt x="7543800" y="50800"/>
                  </a:lnTo>
                  <a:lnTo>
                    <a:pt x="7543800" y="25400"/>
                  </a:lnTo>
                  <a:close/>
                </a:path>
                <a:path w="8216265" h="76200">
                  <a:moveTo>
                    <a:pt x="7594600" y="25400"/>
                  </a:moveTo>
                  <a:lnTo>
                    <a:pt x="7569200" y="25400"/>
                  </a:lnTo>
                  <a:lnTo>
                    <a:pt x="7569200" y="50800"/>
                  </a:lnTo>
                  <a:lnTo>
                    <a:pt x="7594600" y="50800"/>
                  </a:lnTo>
                  <a:lnTo>
                    <a:pt x="7594600" y="25400"/>
                  </a:lnTo>
                  <a:close/>
                </a:path>
                <a:path w="8216265" h="76200">
                  <a:moveTo>
                    <a:pt x="7645400" y="25400"/>
                  </a:moveTo>
                  <a:lnTo>
                    <a:pt x="7620000" y="25400"/>
                  </a:lnTo>
                  <a:lnTo>
                    <a:pt x="7620000" y="50800"/>
                  </a:lnTo>
                  <a:lnTo>
                    <a:pt x="7645400" y="50800"/>
                  </a:lnTo>
                  <a:lnTo>
                    <a:pt x="7645400" y="25400"/>
                  </a:lnTo>
                  <a:close/>
                </a:path>
                <a:path w="8216265" h="76200">
                  <a:moveTo>
                    <a:pt x="7696200" y="25400"/>
                  </a:moveTo>
                  <a:lnTo>
                    <a:pt x="7670800" y="25400"/>
                  </a:lnTo>
                  <a:lnTo>
                    <a:pt x="7670800" y="50800"/>
                  </a:lnTo>
                  <a:lnTo>
                    <a:pt x="7696200" y="50800"/>
                  </a:lnTo>
                  <a:lnTo>
                    <a:pt x="7696200" y="25400"/>
                  </a:lnTo>
                  <a:close/>
                </a:path>
                <a:path w="8216265" h="76200">
                  <a:moveTo>
                    <a:pt x="7747000" y="25400"/>
                  </a:moveTo>
                  <a:lnTo>
                    <a:pt x="7721600" y="25400"/>
                  </a:lnTo>
                  <a:lnTo>
                    <a:pt x="7721600" y="50800"/>
                  </a:lnTo>
                  <a:lnTo>
                    <a:pt x="7747000" y="50800"/>
                  </a:lnTo>
                  <a:lnTo>
                    <a:pt x="7747000" y="25400"/>
                  </a:lnTo>
                  <a:close/>
                </a:path>
                <a:path w="8216265" h="76200">
                  <a:moveTo>
                    <a:pt x="7797800" y="25400"/>
                  </a:moveTo>
                  <a:lnTo>
                    <a:pt x="7772400" y="25400"/>
                  </a:lnTo>
                  <a:lnTo>
                    <a:pt x="7772400" y="50800"/>
                  </a:lnTo>
                  <a:lnTo>
                    <a:pt x="7797800" y="50800"/>
                  </a:lnTo>
                  <a:lnTo>
                    <a:pt x="7797800" y="25400"/>
                  </a:lnTo>
                  <a:close/>
                </a:path>
                <a:path w="8216265" h="76200">
                  <a:moveTo>
                    <a:pt x="7848600" y="25400"/>
                  </a:moveTo>
                  <a:lnTo>
                    <a:pt x="7823200" y="25400"/>
                  </a:lnTo>
                  <a:lnTo>
                    <a:pt x="7823200" y="50800"/>
                  </a:lnTo>
                  <a:lnTo>
                    <a:pt x="7848600" y="50800"/>
                  </a:lnTo>
                  <a:lnTo>
                    <a:pt x="7848600" y="25400"/>
                  </a:lnTo>
                  <a:close/>
                </a:path>
                <a:path w="8216265" h="76200">
                  <a:moveTo>
                    <a:pt x="7899400" y="25400"/>
                  </a:moveTo>
                  <a:lnTo>
                    <a:pt x="7874000" y="25400"/>
                  </a:lnTo>
                  <a:lnTo>
                    <a:pt x="7874000" y="50800"/>
                  </a:lnTo>
                  <a:lnTo>
                    <a:pt x="7899400" y="50800"/>
                  </a:lnTo>
                  <a:lnTo>
                    <a:pt x="7899400" y="25400"/>
                  </a:lnTo>
                  <a:close/>
                </a:path>
                <a:path w="8216265" h="76200">
                  <a:moveTo>
                    <a:pt x="7950200" y="25400"/>
                  </a:moveTo>
                  <a:lnTo>
                    <a:pt x="7924800" y="25400"/>
                  </a:lnTo>
                  <a:lnTo>
                    <a:pt x="7924800" y="50800"/>
                  </a:lnTo>
                  <a:lnTo>
                    <a:pt x="7950200" y="50800"/>
                  </a:lnTo>
                  <a:lnTo>
                    <a:pt x="7950200" y="25400"/>
                  </a:lnTo>
                  <a:close/>
                </a:path>
                <a:path w="8216265" h="76200">
                  <a:moveTo>
                    <a:pt x="8001000" y="25400"/>
                  </a:moveTo>
                  <a:lnTo>
                    <a:pt x="7975600" y="25400"/>
                  </a:lnTo>
                  <a:lnTo>
                    <a:pt x="7975600" y="50800"/>
                  </a:lnTo>
                  <a:lnTo>
                    <a:pt x="8001000" y="50800"/>
                  </a:lnTo>
                  <a:lnTo>
                    <a:pt x="8001000" y="25400"/>
                  </a:lnTo>
                  <a:close/>
                </a:path>
                <a:path w="8216265" h="76200">
                  <a:moveTo>
                    <a:pt x="8051800" y="25400"/>
                  </a:moveTo>
                  <a:lnTo>
                    <a:pt x="8026400" y="25400"/>
                  </a:lnTo>
                  <a:lnTo>
                    <a:pt x="8026400" y="50800"/>
                  </a:lnTo>
                  <a:lnTo>
                    <a:pt x="8051800" y="50800"/>
                  </a:lnTo>
                  <a:lnTo>
                    <a:pt x="8051800" y="25400"/>
                  </a:lnTo>
                  <a:close/>
                </a:path>
                <a:path w="8216265" h="76200">
                  <a:moveTo>
                    <a:pt x="8102600" y="25400"/>
                  </a:moveTo>
                  <a:lnTo>
                    <a:pt x="8077200" y="25400"/>
                  </a:lnTo>
                  <a:lnTo>
                    <a:pt x="8077200" y="50800"/>
                  </a:lnTo>
                  <a:lnTo>
                    <a:pt x="8102600" y="50800"/>
                  </a:lnTo>
                  <a:lnTo>
                    <a:pt x="8102600" y="25400"/>
                  </a:lnTo>
                  <a:close/>
                </a:path>
                <a:path w="8216265" h="76200">
                  <a:moveTo>
                    <a:pt x="8139907" y="0"/>
                  </a:moveTo>
                  <a:lnTo>
                    <a:pt x="8139907" y="76200"/>
                  </a:lnTo>
                  <a:lnTo>
                    <a:pt x="8190707" y="50800"/>
                  </a:lnTo>
                  <a:lnTo>
                    <a:pt x="8152615" y="50800"/>
                  </a:lnTo>
                  <a:lnTo>
                    <a:pt x="8152615" y="25400"/>
                  </a:lnTo>
                  <a:lnTo>
                    <a:pt x="8190707" y="25400"/>
                  </a:lnTo>
                  <a:lnTo>
                    <a:pt x="8139907" y="0"/>
                  </a:lnTo>
                  <a:close/>
                </a:path>
                <a:path w="8216265" h="76200">
                  <a:moveTo>
                    <a:pt x="8139907" y="25400"/>
                  </a:moveTo>
                  <a:lnTo>
                    <a:pt x="8128000" y="25400"/>
                  </a:lnTo>
                  <a:lnTo>
                    <a:pt x="8128000" y="50800"/>
                  </a:lnTo>
                  <a:lnTo>
                    <a:pt x="8139907" y="50800"/>
                  </a:lnTo>
                  <a:lnTo>
                    <a:pt x="8139907" y="25400"/>
                  </a:lnTo>
                  <a:close/>
                </a:path>
                <a:path w="8216265" h="76200">
                  <a:moveTo>
                    <a:pt x="8190707" y="25400"/>
                  </a:moveTo>
                  <a:lnTo>
                    <a:pt x="8152615" y="25400"/>
                  </a:lnTo>
                  <a:lnTo>
                    <a:pt x="8152615" y="50800"/>
                  </a:lnTo>
                  <a:lnTo>
                    <a:pt x="8190707" y="50800"/>
                  </a:lnTo>
                  <a:lnTo>
                    <a:pt x="8216107" y="38100"/>
                  </a:lnTo>
                  <a:lnTo>
                    <a:pt x="8190707" y="25400"/>
                  </a:lnTo>
                  <a:close/>
                </a:path>
              </a:pathLst>
            </a:custGeom>
            <a:solidFill>
              <a:srgbClr val="6D6E7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9" name="object 49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6399876" y="3359560"/>
              <a:ext cx="539999" cy="539999"/>
            </a:xfrm>
            <a:prstGeom prst="rect">
              <a:avLst/>
            </a:prstGeom>
          </p:spPr>
        </p:pic>
      </p:grpSp>
      <p:sp>
        <p:nvSpPr>
          <p:cNvPr id="50" name="object 50"/>
          <p:cNvSpPr/>
          <p:nvPr/>
        </p:nvSpPr>
        <p:spPr>
          <a:xfrm>
            <a:off x="5917359" y="2920260"/>
            <a:ext cx="1505585" cy="279400"/>
          </a:xfrm>
          <a:custGeom>
            <a:avLst/>
            <a:gdLst/>
            <a:ahLst/>
            <a:cxnLst/>
            <a:rect l="l" t="t" r="r" b="b"/>
            <a:pathLst>
              <a:path w="1505584" h="279400">
                <a:moveTo>
                  <a:pt x="1442308" y="0"/>
                </a:moveTo>
                <a:lnTo>
                  <a:pt x="62727" y="0"/>
                </a:lnTo>
                <a:lnTo>
                  <a:pt x="38311" y="4929"/>
                </a:lnTo>
                <a:lnTo>
                  <a:pt x="18372" y="18372"/>
                </a:lnTo>
                <a:lnTo>
                  <a:pt x="4929" y="38311"/>
                </a:lnTo>
                <a:lnTo>
                  <a:pt x="0" y="62727"/>
                </a:lnTo>
                <a:lnTo>
                  <a:pt x="0" y="216240"/>
                </a:lnTo>
                <a:lnTo>
                  <a:pt x="4929" y="240656"/>
                </a:lnTo>
                <a:lnTo>
                  <a:pt x="18372" y="260595"/>
                </a:lnTo>
                <a:lnTo>
                  <a:pt x="38311" y="274038"/>
                </a:lnTo>
                <a:lnTo>
                  <a:pt x="62727" y="278968"/>
                </a:lnTo>
                <a:lnTo>
                  <a:pt x="1442308" y="278968"/>
                </a:lnTo>
                <a:lnTo>
                  <a:pt x="1466725" y="274038"/>
                </a:lnTo>
                <a:lnTo>
                  <a:pt x="1486664" y="260595"/>
                </a:lnTo>
                <a:lnTo>
                  <a:pt x="1500106" y="240656"/>
                </a:lnTo>
                <a:lnTo>
                  <a:pt x="1505036" y="216240"/>
                </a:lnTo>
                <a:lnTo>
                  <a:pt x="1505036" y="62727"/>
                </a:lnTo>
                <a:lnTo>
                  <a:pt x="1500106" y="38311"/>
                </a:lnTo>
                <a:lnTo>
                  <a:pt x="1486664" y="18372"/>
                </a:lnTo>
                <a:lnTo>
                  <a:pt x="1466725" y="4929"/>
                </a:lnTo>
                <a:lnTo>
                  <a:pt x="1442308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 txBox="1"/>
          <p:nvPr/>
        </p:nvSpPr>
        <p:spPr>
          <a:xfrm>
            <a:off x="6123777" y="2956052"/>
            <a:ext cx="10928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2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dirty="0">
                <a:solidFill>
                  <a:srgbClr val="6D6E71"/>
                </a:solidFill>
                <a:latin typeface="Segoe UI"/>
                <a:cs typeface="Segoe UI"/>
              </a:rPr>
              <a:t>1</a:t>
            </a:r>
            <a:r>
              <a:rPr sz="1200" b="1" spc="-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июня</a:t>
            </a:r>
            <a:r>
              <a:rPr sz="1200" b="1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b="1" spc="-5" dirty="0">
                <a:solidFill>
                  <a:srgbClr val="6D6E71"/>
                </a:solidFill>
                <a:latin typeface="Segoe UI"/>
                <a:cs typeface="Segoe UI"/>
              </a:rPr>
              <a:t>2022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5459977" y="4206748"/>
            <a:ext cx="2073275" cy="4826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0"/>
              </a:spcBef>
            </a:pP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Обязательная продажа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маркированной продукции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СГ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&gt;40 </a:t>
            </a:r>
            <a:r>
              <a:rPr sz="1000" spc="-26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дней</a:t>
            </a:r>
            <a:r>
              <a:rPr sz="10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000" dirty="0">
                <a:solidFill>
                  <a:srgbClr val="6D6E71"/>
                </a:solidFill>
                <a:latin typeface="Segoe UI"/>
                <a:cs typeface="Segoe UI"/>
              </a:rPr>
              <a:t>с </a:t>
            </a:r>
            <a:r>
              <a:rPr sz="1000" spc="-5" dirty="0">
                <a:solidFill>
                  <a:srgbClr val="6D6E71"/>
                </a:solidFill>
                <a:latin typeface="Segoe UI"/>
                <a:cs typeface="Segoe UI"/>
              </a:rPr>
              <a:t>помощью </a:t>
            </a:r>
            <a:r>
              <a:rPr sz="1000" spc="-10" dirty="0">
                <a:solidFill>
                  <a:srgbClr val="6D6E71"/>
                </a:solidFill>
                <a:latin typeface="Segoe UI"/>
                <a:cs typeface="Segoe UI"/>
              </a:rPr>
              <a:t>ККТ</a:t>
            </a:r>
            <a:endParaRPr sz="1000">
              <a:latin typeface="Segoe UI"/>
              <a:cs typeface="Segoe UI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515999" y="359999"/>
            <a:ext cx="11160125" cy="720090"/>
          </a:xfrm>
          <a:custGeom>
            <a:avLst/>
            <a:gdLst/>
            <a:ahLst/>
            <a:cxnLst/>
            <a:rect l="l" t="t" r="r" b="b"/>
            <a:pathLst>
              <a:path w="11160125" h="720090">
                <a:moveTo>
                  <a:pt x="11040003" y="0"/>
                </a:moveTo>
                <a:lnTo>
                  <a:pt x="119996" y="0"/>
                </a:lnTo>
                <a:lnTo>
                  <a:pt x="73288" y="9430"/>
                </a:lnTo>
                <a:lnTo>
                  <a:pt x="35146" y="35146"/>
                </a:lnTo>
                <a:lnTo>
                  <a:pt x="9429" y="73288"/>
                </a:lnTo>
                <a:lnTo>
                  <a:pt x="0" y="119997"/>
                </a:lnTo>
                <a:lnTo>
                  <a:pt x="0" y="600001"/>
                </a:lnTo>
                <a:lnTo>
                  <a:pt x="9429" y="646710"/>
                </a:lnTo>
                <a:lnTo>
                  <a:pt x="35146" y="684853"/>
                </a:lnTo>
                <a:lnTo>
                  <a:pt x="73288" y="710569"/>
                </a:lnTo>
                <a:lnTo>
                  <a:pt x="119996" y="719999"/>
                </a:lnTo>
                <a:lnTo>
                  <a:pt x="11040003" y="719999"/>
                </a:lnTo>
                <a:lnTo>
                  <a:pt x="11086711" y="710569"/>
                </a:lnTo>
                <a:lnTo>
                  <a:pt x="11124853" y="684853"/>
                </a:lnTo>
                <a:lnTo>
                  <a:pt x="11150569" y="646710"/>
                </a:lnTo>
                <a:lnTo>
                  <a:pt x="11159999" y="600001"/>
                </a:lnTo>
                <a:lnTo>
                  <a:pt x="11159999" y="119997"/>
                </a:lnTo>
                <a:lnTo>
                  <a:pt x="11150569" y="73288"/>
                </a:lnTo>
                <a:lnTo>
                  <a:pt x="11124853" y="35146"/>
                </a:lnTo>
                <a:lnTo>
                  <a:pt x="11086711" y="9430"/>
                </a:lnTo>
                <a:lnTo>
                  <a:pt x="11040003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 txBox="1">
            <a:spLocks noGrp="1"/>
          </p:cNvSpPr>
          <p:nvPr>
            <p:ph type="title"/>
          </p:nvPr>
        </p:nvSpPr>
        <p:spPr>
          <a:xfrm>
            <a:off x="718448" y="511555"/>
            <a:ext cx="963549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Этапы</a:t>
            </a:r>
            <a:r>
              <a:rPr spc="-15" dirty="0"/>
              <a:t> </a:t>
            </a:r>
            <a:r>
              <a:rPr spc="-10" dirty="0"/>
              <a:t>запуска</a:t>
            </a:r>
            <a:r>
              <a:rPr spc="-5" dirty="0"/>
              <a:t> </a:t>
            </a:r>
            <a:r>
              <a:rPr spc="-10" dirty="0"/>
              <a:t>обязательной </a:t>
            </a:r>
            <a:r>
              <a:rPr spc="-5" dirty="0"/>
              <a:t>маркировки</a:t>
            </a:r>
            <a:r>
              <a:rPr spc="-10" dirty="0"/>
              <a:t> </a:t>
            </a:r>
            <a:r>
              <a:rPr spc="-5" dirty="0"/>
              <a:t>молочной</a:t>
            </a:r>
            <a:r>
              <a:rPr spc="-10" dirty="0"/>
              <a:t> продукции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5" name="Straight Connector 7">
            <a:extLst>
              <a:ext uri="{FF2B5EF4-FFF2-40B4-BE49-F238E27FC236}">
                <a16:creationId xmlns:a16="http://schemas.microsoft.com/office/drawing/2014/main" id="{9EE7300B-764A-436B-B151-16BD54EFAD39}"/>
              </a:ext>
            </a:extLst>
          </p:cNvPr>
          <p:cNvCxnSpPr>
            <a:cxnSpLocks/>
          </p:cNvCxnSpPr>
          <p:nvPr/>
        </p:nvCxnSpPr>
        <p:spPr>
          <a:xfrm>
            <a:off x="1735461" y="3862857"/>
            <a:ext cx="7437878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">
            <a:extLst>
              <a:ext uri="{FF2B5EF4-FFF2-40B4-BE49-F238E27FC236}">
                <a16:creationId xmlns:a16="http://schemas.microsoft.com/office/drawing/2014/main" id="{1B2F854F-92E9-4F90-A631-F560DF4DA3DB}"/>
              </a:ext>
            </a:extLst>
          </p:cNvPr>
          <p:cNvCxnSpPr>
            <a:cxnSpLocks/>
          </p:cNvCxnSpPr>
          <p:nvPr/>
        </p:nvCxnSpPr>
        <p:spPr>
          <a:xfrm>
            <a:off x="1735461" y="2533020"/>
            <a:ext cx="7437878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ounded Rectangle 167">
            <a:extLst>
              <a:ext uri="{FF2B5EF4-FFF2-40B4-BE49-F238E27FC236}">
                <a16:creationId xmlns:a16="http://schemas.microsoft.com/office/drawing/2014/main" id="{77888C56-3752-5440-93C4-87F95CB47FF7}"/>
              </a:ext>
            </a:extLst>
          </p:cNvPr>
          <p:cNvSpPr/>
          <p:nvPr/>
        </p:nvSpPr>
        <p:spPr>
          <a:xfrm>
            <a:off x="895350" y="4591421"/>
            <a:ext cx="1262555" cy="1280887"/>
          </a:xfrm>
          <a:prstGeom prst="roundRect">
            <a:avLst>
              <a:gd name="adj" fmla="val 7708"/>
            </a:avLst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9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6" name="Rounded Rectangle 165">
            <a:extLst>
              <a:ext uri="{FF2B5EF4-FFF2-40B4-BE49-F238E27FC236}">
                <a16:creationId xmlns:a16="http://schemas.microsoft.com/office/drawing/2014/main" id="{50B5E0D6-CDE1-4440-96E2-62F4F148DF94}"/>
              </a:ext>
            </a:extLst>
          </p:cNvPr>
          <p:cNvSpPr/>
          <p:nvPr/>
        </p:nvSpPr>
        <p:spPr>
          <a:xfrm>
            <a:off x="901420" y="3181469"/>
            <a:ext cx="1262555" cy="1280887"/>
          </a:xfrm>
          <a:prstGeom prst="roundRect">
            <a:avLst>
              <a:gd name="adj" fmla="val 7708"/>
            </a:avLst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9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3" name="Rounded Rectangle 162">
            <a:extLst>
              <a:ext uri="{FF2B5EF4-FFF2-40B4-BE49-F238E27FC236}">
                <a16:creationId xmlns:a16="http://schemas.microsoft.com/office/drawing/2014/main" id="{88801917-4E07-7144-9098-1E7C5BEB0F0B}"/>
              </a:ext>
            </a:extLst>
          </p:cNvPr>
          <p:cNvSpPr/>
          <p:nvPr/>
        </p:nvSpPr>
        <p:spPr>
          <a:xfrm>
            <a:off x="895350" y="1769668"/>
            <a:ext cx="1262555" cy="1280887"/>
          </a:xfrm>
          <a:prstGeom prst="roundRect">
            <a:avLst>
              <a:gd name="adj" fmla="val 7708"/>
            </a:avLst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9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30D2283-8E9D-9C4E-BB58-46DDAD74192C}"/>
              </a:ext>
            </a:extLst>
          </p:cNvPr>
          <p:cNvSpPr/>
          <p:nvPr/>
        </p:nvSpPr>
        <p:spPr>
          <a:xfrm>
            <a:off x="2350375" y="5461002"/>
            <a:ext cx="2393405" cy="215444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7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ый электронный документооборот - объёмно-сортовой учёт по УПД</a:t>
            </a:r>
          </a:p>
        </p:txBody>
      </p:sp>
      <p:cxnSp>
        <p:nvCxnSpPr>
          <p:cNvPr id="88" name="Straight Connector 7">
            <a:extLst>
              <a:ext uri="{FF2B5EF4-FFF2-40B4-BE49-F238E27FC236}">
                <a16:creationId xmlns:a16="http://schemas.microsoft.com/office/drawing/2014/main" id="{3E1A78C9-6B57-8D4A-86DB-1482D89586E2}"/>
              </a:ext>
            </a:extLst>
          </p:cNvPr>
          <p:cNvCxnSpPr>
            <a:cxnSpLocks/>
          </p:cNvCxnSpPr>
          <p:nvPr/>
        </p:nvCxnSpPr>
        <p:spPr>
          <a:xfrm>
            <a:off x="1735461" y="5264808"/>
            <a:ext cx="7437878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ounded Rectangle 89">
            <a:extLst>
              <a:ext uri="{FF2B5EF4-FFF2-40B4-BE49-F238E27FC236}">
                <a16:creationId xmlns:a16="http://schemas.microsoft.com/office/drawing/2014/main" id="{0AA3057D-7DBC-0148-9B3E-ECD8EF6E3ABF}"/>
              </a:ext>
            </a:extLst>
          </p:cNvPr>
          <p:cNvSpPr/>
          <p:nvPr/>
        </p:nvSpPr>
        <p:spPr>
          <a:xfrm>
            <a:off x="2386604" y="5148849"/>
            <a:ext cx="2323577" cy="22057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ноября 2022 по 28 февраля 2025</a:t>
            </a:r>
            <a:endParaRPr lang="en-RU" sz="9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3" name="Rounded Rectangle 92">
            <a:extLst>
              <a:ext uri="{FF2B5EF4-FFF2-40B4-BE49-F238E27FC236}">
                <a16:creationId xmlns:a16="http://schemas.microsoft.com/office/drawing/2014/main" id="{0073AE13-4277-3743-A3F8-FCCBA60B0109}"/>
              </a:ext>
            </a:extLst>
          </p:cNvPr>
          <p:cNvSpPr/>
          <p:nvPr/>
        </p:nvSpPr>
        <p:spPr>
          <a:xfrm>
            <a:off x="5691805" y="5148849"/>
            <a:ext cx="2323577" cy="22057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марта 2025</a:t>
            </a:r>
            <a:endParaRPr lang="en-RU" sz="9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E72283CD-984B-7042-B89B-EF75C05F710B}"/>
              </a:ext>
            </a:extLst>
          </p:cNvPr>
          <p:cNvSpPr/>
          <p:nvPr/>
        </p:nvSpPr>
        <p:spPr>
          <a:xfrm>
            <a:off x="5635751" y="5461002"/>
            <a:ext cx="2431618" cy="215444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7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ый электронный документооборот - </a:t>
            </a:r>
            <a:r>
              <a:rPr lang="ru-RU" sz="7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экземплярный</a:t>
            </a:r>
            <a:r>
              <a:rPr lang="ru-RU" sz="7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учёт по УПД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E523EB83-3529-DD4F-BD93-132DBF73BF77}"/>
              </a:ext>
            </a:extLst>
          </p:cNvPr>
          <p:cNvSpPr/>
          <p:nvPr/>
        </p:nvSpPr>
        <p:spPr>
          <a:xfrm>
            <a:off x="2894772" y="2420163"/>
            <a:ext cx="1172958" cy="22057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сентября 2021</a:t>
            </a:r>
            <a:endParaRPr lang="en-RU" sz="9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C1878F8-5C1C-7545-A856-7D364DC937A6}"/>
              </a:ext>
            </a:extLst>
          </p:cNvPr>
          <p:cNvSpPr/>
          <p:nvPr/>
        </p:nvSpPr>
        <p:spPr>
          <a:xfrm>
            <a:off x="2762455" y="2709865"/>
            <a:ext cx="1427987" cy="215444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7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я регистрация в системе маркировки</a:t>
            </a:r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03A3EE5D-AA19-C54D-A7BC-763894CC754F}"/>
              </a:ext>
            </a:extLst>
          </p:cNvPr>
          <p:cNvSpPr/>
          <p:nvPr/>
        </p:nvSpPr>
        <p:spPr>
          <a:xfrm>
            <a:off x="4699600" y="2420163"/>
            <a:ext cx="1172958" cy="22057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декабря 2021</a:t>
            </a:r>
            <a:endParaRPr lang="en-RU" sz="9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D9330DF-8550-A344-A280-1C2E11BF4BB8}"/>
              </a:ext>
            </a:extLst>
          </p:cNvPr>
          <p:cNvSpPr/>
          <p:nvPr/>
        </p:nvSpPr>
        <p:spPr>
          <a:xfrm>
            <a:off x="4395476" y="2709865"/>
            <a:ext cx="1759125" cy="215444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7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я маркировка упакованной минеральной воды </a:t>
            </a:r>
          </a:p>
        </p:txBody>
      </p:sp>
      <p:sp>
        <p:nvSpPr>
          <p:cNvPr id="52" name="Rounded Rectangle 51">
            <a:extLst>
              <a:ext uri="{FF2B5EF4-FFF2-40B4-BE49-F238E27FC236}">
                <a16:creationId xmlns:a16="http://schemas.microsoft.com/office/drawing/2014/main" id="{DB7FB7BB-777A-5048-B21A-851D6ECA283C}"/>
              </a:ext>
            </a:extLst>
          </p:cNvPr>
          <p:cNvSpPr/>
          <p:nvPr/>
        </p:nvSpPr>
        <p:spPr>
          <a:xfrm>
            <a:off x="6748315" y="2420163"/>
            <a:ext cx="1172958" cy="22057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марта 2022</a:t>
            </a:r>
            <a:endParaRPr lang="en-RU" sz="9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A366E91-84C1-7345-9300-2B17B41A3E09}"/>
              </a:ext>
            </a:extLst>
          </p:cNvPr>
          <p:cNvSpPr/>
          <p:nvPr/>
        </p:nvSpPr>
        <p:spPr>
          <a:xfrm>
            <a:off x="6353021" y="2709865"/>
            <a:ext cx="1934850" cy="215444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7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я маркировки упакованной прочей воды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781F044-FC59-C642-B03B-AB85783703DD}"/>
              </a:ext>
            </a:extLst>
          </p:cNvPr>
          <p:cNvSpPr txBox="1"/>
          <p:nvPr/>
        </p:nvSpPr>
        <p:spPr>
          <a:xfrm>
            <a:off x="949583" y="2591793"/>
            <a:ext cx="11580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изводители,</a:t>
            </a:r>
          </a:p>
          <a:p>
            <a:pPr algn="ctr"/>
            <a:r>
              <a:rPr lang="ru-RU" sz="9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мпортеры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EF9FB62B-FABE-784C-88F1-E515D9A66749}"/>
              </a:ext>
            </a:extLst>
          </p:cNvPr>
          <p:cNvSpPr txBox="1"/>
          <p:nvPr/>
        </p:nvSpPr>
        <p:spPr>
          <a:xfrm>
            <a:off x="1039016" y="5442898"/>
            <a:ext cx="10297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е участники</a:t>
            </a:r>
          </a:p>
        </p:txBody>
      </p:sp>
      <p:sp>
        <p:nvSpPr>
          <p:cNvPr id="135" name="Rounded Rectangle 134">
            <a:extLst>
              <a:ext uri="{FF2B5EF4-FFF2-40B4-BE49-F238E27FC236}">
                <a16:creationId xmlns:a16="http://schemas.microsoft.com/office/drawing/2014/main" id="{48088068-99F9-4F42-9AB9-08194BB6979F}"/>
              </a:ext>
            </a:extLst>
          </p:cNvPr>
          <p:cNvSpPr/>
          <p:nvPr/>
        </p:nvSpPr>
        <p:spPr>
          <a:xfrm>
            <a:off x="2894772" y="3746651"/>
            <a:ext cx="1172958" cy="22057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сентября 2022</a:t>
            </a:r>
            <a:endParaRPr lang="en-RU" sz="9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0CD8D23C-2A19-994E-9F6C-FE85F6B34AEE}"/>
              </a:ext>
            </a:extLst>
          </p:cNvPr>
          <p:cNvSpPr/>
          <p:nvPr/>
        </p:nvSpPr>
        <p:spPr>
          <a:xfrm>
            <a:off x="2444389" y="4139709"/>
            <a:ext cx="2041025" cy="323165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7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я продажа маркированной продукции через кассу с подачей сведений в ГИС МТ</a:t>
            </a:r>
          </a:p>
        </p:txBody>
      </p:sp>
      <p:pic>
        <p:nvPicPr>
          <p:cNvPr id="44" name="Picture 63">
            <a:extLst>
              <a:ext uri="{FF2B5EF4-FFF2-40B4-BE49-F238E27FC236}">
                <a16:creationId xmlns:a16="http://schemas.microsoft.com/office/drawing/2014/main" id="{A5C0DCEF-0CC5-41EA-95B7-286A1D79D3F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51122" y="3456894"/>
            <a:ext cx="569283" cy="569283"/>
          </a:xfrm>
          <a:prstGeom prst="rect">
            <a:avLst/>
          </a:prstGeom>
        </p:spPr>
      </p:pic>
      <p:pic>
        <p:nvPicPr>
          <p:cNvPr id="39" name="Picture 37">
            <a:extLst>
              <a:ext uri="{FF2B5EF4-FFF2-40B4-BE49-F238E27FC236}">
                <a16:creationId xmlns:a16="http://schemas.microsoft.com/office/drawing/2014/main" id="{4D8601C8-8E97-43ED-9519-D852633364A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51122" y="2000698"/>
            <a:ext cx="569283" cy="569283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F046D8D6-21BD-4355-B03F-3755919A738D}"/>
              </a:ext>
            </a:extLst>
          </p:cNvPr>
          <p:cNvSpPr txBox="1"/>
          <p:nvPr/>
        </p:nvSpPr>
        <p:spPr>
          <a:xfrm>
            <a:off x="1195188" y="4089167"/>
            <a:ext cx="69634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озница</a:t>
            </a:r>
          </a:p>
        </p:txBody>
      </p:sp>
      <p:pic>
        <p:nvPicPr>
          <p:cNvPr id="41" name="Picture 43">
            <a:extLst>
              <a:ext uri="{FF2B5EF4-FFF2-40B4-BE49-F238E27FC236}">
                <a16:creationId xmlns:a16="http://schemas.microsoft.com/office/drawing/2014/main" id="{269E8EB2-1C31-4637-9BA3-B9AA9164BCC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51122" y="4825847"/>
            <a:ext cx="569283" cy="569283"/>
          </a:xfrm>
          <a:prstGeom prst="rect">
            <a:avLst/>
          </a:prstGeom>
        </p:spPr>
      </p:pic>
      <p:pic>
        <p:nvPicPr>
          <p:cNvPr id="67" name="Picture 69">
            <a:extLst>
              <a:ext uri="{FF2B5EF4-FFF2-40B4-BE49-F238E27FC236}">
                <a16:creationId xmlns:a16="http://schemas.microsoft.com/office/drawing/2014/main" id="{EE067FA6-344F-F24C-A104-1B561D32704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8878" y="1906733"/>
            <a:ext cx="426962" cy="42696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8" name="Picture 69">
            <a:extLst>
              <a:ext uri="{FF2B5EF4-FFF2-40B4-BE49-F238E27FC236}">
                <a16:creationId xmlns:a16="http://schemas.microsoft.com/office/drawing/2014/main" id="{B1C4C60C-0D83-2E4A-9CAB-17489E48E78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83947" y="1906733"/>
            <a:ext cx="426962" cy="42696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9" name="Picture 69">
            <a:extLst>
              <a:ext uri="{FF2B5EF4-FFF2-40B4-BE49-F238E27FC236}">
                <a16:creationId xmlns:a16="http://schemas.microsoft.com/office/drawing/2014/main" id="{463AD8BB-D2C8-9A42-BA9F-5919C6B37A6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421" y="1906733"/>
            <a:ext cx="426962" cy="42696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54A5458B-049B-0742-85F1-25B767CD0B9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8878" y="3236569"/>
            <a:ext cx="426962" cy="42696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4AA2FC4E-2377-184F-AF96-7C346329133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8878" y="4680597"/>
            <a:ext cx="426962" cy="42696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F488529B-6278-DA48-A83D-BB144174871E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72889" y="4680597"/>
            <a:ext cx="426962" cy="42696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B38F909F-F8D9-C243-9B93-0EB69F36DBE6}"/>
              </a:ext>
            </a:extLst>
          </p:cNvPr>
          <p:cNvSpPr/>
          <p:nvPr/>
        </p:nvSpPr>
        <p:spPr>
          <a:xfrm>
            <a:off x="561975" y="490627"/>
            <a:ext cx="10010775" cy="604325"/>
          </a:xfrm>
          <a:prstGeom prst="roundRect">
            <a:avLst>
              <a:gd name="adj" fmla="val 15713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67500" rIns="67500" bIns="67500" rtlCol="0" anchor="ctr"/>
          <a:lstStyle/>
          <a:p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рожная карта ТГ Упакованная вода </a:t>
            </a:r>
            <a:endParaRPr lang="en-RU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89137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7999"/>
                </a:lnTo>
                <a:lnTo>
                  <a:pt x="12192000" y="6857999"/>
                </a:lnTo>
                <a:lnTo>
                  <a:pt x="1219200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1544234" y="3701622"/>
            <a:ext cx="8648065" cy="355600"/>
            <a:chOff x="1544234" y="3701622"/>
            <a:chExt cx="8648065" cy="355600"/>
          </a:xfrm>
        </p:grpSpPr>
        <p:sp>
          <p:nvSpPr>
            <p:cNvPr id="4" name="object 4"/>
            <p:cNvSpPr/>
            <p:nvPr/>
          </p:nvSpPr>
          <p:spPr>
            <a:xfrm>
              <a:off x="1899217" y="3879113"/>
              <a:ext cx="8280400" cy="0"/>
            </a:xfrm>
            <a:custGeom>
              <a:avLst/>
              <a:gdLst/>
              <a:ahLst/>
              <a:cxnLst/>
              <a:rect l="l" t="t" r="r" b="b"/>
              <a:pathLst>
                <a:path w="8280400">
                  <a:moveTo>
                    <a:pt x="0" y="0"/>
                  </a:moveTo>
                  <a:lnTo>
                    <a:pt x="8279846" y="1"/>
                  </a:lnTo>
                </a:path>
              </a:pathLst>
            </a:custGeom>
            <a:ln w="25400">
              <a:solidFill>
                <a:srgbClr val="6D6E7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1544234" y="3701622"/>
              <a:ext cx="355600" cy="355600"/>
            </a:xfrm>
            <a:custGeom>
              <a:avLst/>
              <a:gdLst/>
              <a:ahLst/>
              <a:cxnLst/>
              <a:rect l="l" t="t" r="r" b="b"/>
              <a:pathLst>
                <a:path w="355600" h="355600">
                  <a:moveTo>
                    <a:pt x="177491" y="0"/>
                  </a:moveTo>
                  <a:lnTo>
                    <a:pt x="130306" y="6340"/>
                  </a:lnTo>
                  <a:lnTo>
                    <a:pt x="87907" y="24232"/>
                  </a:lnTo>
                  <a:lnTo>
                    <a:pt x="51985" y="51985"/>
                  </a:lnTo>
                  <a:lnTo>
                    <a:pt x="24232" y="87907"/>
                  </a:lnTo>
                  <a:lnTo>
                    <a:pt x="6340" y="130306"/>
                  </a:lnTo>
                  <a:lnTo>
                    <a:pt x="0" y="177491"/>
                  </a:lnTo>
                  <a:lnTo>
                    <a:pt x="6340" y="224675"/>
                  </a:lnTo>
                  <a:lnTo>
                    <a:pt x="24232" y="267074"/>
                  </a:lnTo>
                  <a:lnTo>
                    <a:pt x="51985" y="302996"/>
                  </a:lnTo>
                  <a:lnTo>
                    <a:pt x="87907" y="330750"/>
                  </a:lnTo>
                  <a:lnTo>
                    <a:pt x="130306" y="348642"/>
                  </a:lnTo>
                  <a:lnTo>
                    <a:pt x="177491" y="354982"/>
                  </a:lnTo>
                  <a:lnTo>
                    <a:pt x="224675" y="348642"/>
                  </a:lnTo>
                  <a:lnTo>
                    <a:pt x="267074" y="330750"/>
                  </a:lnTo>
                  <a:lnTo>
                    <a:pt x="302996" y="302996"/>
                  </a:lnTo>
                  <a:lnTo>
                    <a:pt x="330750" y="267074"/>
                  </a:lnTo>
                  <a:lnTo>
                    <a:pt x="348642" y="224675"/>
                  </a:lnTo>
                  <a:lnTo>
                    <a:pt x="354982" y="177491"/>
                  </a:lnTo>
                  <a:lnTo>
                    <a:pt x="348642" y="130306"/>
                  </a:lnTo>
                  <a:lnTo>
                    <a:pt x="330750" y="87907"/>
                  </a:lnTo>
                  <a:lnTo>
                    <a:pt x="302996" y="51985"/>
                  </a:lnTo>
                  <a:lnTo>
                    <a:pt x="267074" y="24232"/>
                  </a:lnTo>
                  <a:lnTo>
                    <a:pt x="224675" y="6340"/>
                  </a:lnTo>
                  <a:lnTo>
                    <a:pt x="177491" y="0"/>
                  </a:lnTo>
                  <a:close/>
                </a:path>
              </a:pathLst>
            </a:custGeom>
            <a:solidFill>
              <a:srgbClr val="6D6E7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1665370" y="3775964"/>
            <a:ext cx="11366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Segoe UI"/>
                <a:cs typeface="Segoe UI"/>
              </a:rPr>
              <a:t>1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8018758" y="3701622"/>
            <a:ext cx="355600" cy="355600"/>
          </a:xfrm>
          <a:custGeom>
            <a:avLst/>
            <a:gdLst/>
            <a:ahLst/>
            <a:cxnLst/>
            <a:rect l="l" t="t" r="r" b="b"/>
            <a:pathLst>
              <a:path w="355600" h="355600">
                <a:moveTo>
                  <a:pt x="177491" y="0"/>
                </a:moveTo>
                <a:lnTo>
                  <a:pt x="130307" y="6340"/>
                </a:lnTo>
                <a:lnTo>
                  <a:pt x="87908" y="24232"/>
                </a:lnTo>
                <a:lnTo>
                  <a:pt x="51986" y="51985"/>
                </a:lnTo>
                <a:lnTo>
                  <a:pt x="24232" y="87907"/>
                </a:lnTo>
                <a:lnTo>
                  <a:pt x="6340" y="130306"/>
                </a:lnTo>
                <a:lnTo>
                  <a:pt x="0" y="177491"/>
                </a:lnTo>
                <a:lnTo>
                  <a:pt x="6340" y="224675"/>
                </a:lnTo>
                <a:lnTo>
                  <a:pt x="24232" y="267074"/>
                </a:lnTo>
                <a:lnTo>
                  <a:pt x="51986" y="302996"/>
                </a:lnTo>
                <a:lnTo>
                  <a:pt x="87908" y="330750"/>
                </a:lnTo>
                <a:lnTo>
                  <a:pt x="130307" y="348642"/>
                </a:lnTo>
                <a:lnTo>
                  <a:pt x="177491" y="354982"/>
                </a:lnTo>
                <a:lnTo>
                  <a:pt x="224675" y="348642"/>
                </a:lnTo>
                <a:lnTo>
                  <a:pt x="267074" y="330750"/>
                </a:lnTo>
                <a:lnTo>
                  <a:pt x="302996" y="302996"/>
                </a:lnTo>
                <a:lnTo>
                  <a:pt x="330750" y="267074"/>
                </a:lnTo>
                <a:lnTo>
                  <a:pt x="348642" y="224675"/>
                </a:lnTo>
                <a:lnTo>
                  <a:pt x="354982" y="177491"/>
                </a:lnTo>
                <a:lnTo>
                  <a:pt x="348642" y="130306"/>
                </a:lnTo>
                <a:lnTo>
                  <a:pt x="330750" y="87907"/>
                </a:lnTo>
                <a:lnTo>
                  <a:pt x="302996" y="51985"/>
                </a:lnTo>
                <a:lnTo>
                  <a:pt x="267074" y="24232"/>
                </a:lnTo>
                <a:lnTo>
                  <a:pt x="224675" y="6340"/>
                </a:lnTo>
                <a:lnTo>
                  <a:pt x="177491" y="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8139893" y="3775964"/>
            <a:ext cx="11366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Segoe UI"/>
                <a:cs typeface="Segoe UI"/>
              </a:rPr>
              <a:t>4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3704540" y="3701622"/>
            <a:ext cx="355600" cy="355600"/>
          </a:xfrm>
          <a:custGeom>
            <a:avLst/>
            <a:gdLst/>
            <a:ahLst/>
            <a:cxnLst/>
            <a:rect l="l" t="t" r="r" b="b"/>
            <a:pathLst>
              <a:path w="355600" h="355600">
                <a:moveTo>
                  <a:pt x="177491" y="0"/>
                </a:moveTo>
                <a:lnTo>
                  <a:pt x="130306" y="6340"/>
                </a:lnTo>
                <a:lnTo>
                  <a:pt x="87907" y="24232"/>
                </a:lnTo>
                <a:lnTo>
                  <a:pt x="51985" y="51985"/>
                </a:lnTo>
                <a:lnTo>
                  <a:pt x="24232" y="87907"/>
                </a:lnTo>
                <a:lnTo>
                  <a:pt x="6340" y="130306"/>
                </a:lnTo>
                <a:lnTo>
                  <a:pt x="0" y="177491"/>
                </a:lnTo>
                <a:lnTo>
                  <a:pt x="6340" y="224675"/>
                </a:lnTo>
                <a:lnTo>
                  <a:pt x="24232" y="267074"/>
                </a:lnTo>
                <a:lnTo>
                  <a:pt x="51985" y="302996"/>
                </a:lnTo>
                <a:lnTo>
                  <a:pt x="87907" y="330750"/>
                </a:lnTo>
                <a:lnTo>
                  <a:pt x="130306" y="348642"/>
                </a:lnTo>
                <a:lnTo>
                  <a:pt x="177491" y="354982"/>
                </a:lnTo>
                <a:lnTo>
                  <a:pt x="224675" y="348642"/>
                </a:lnTo>
                <a:lnTo>
                  <a:pt x="267074" y="330750"/>
                </a:lnTo>
                <a:lnTo>
                  <a:pt x="302996" y="302996"/>
                </a:lnTo>
                <a:lnTo>
                  <a:pt x="330749" y="267074"/>
                </a:lnTo>
                <a:lnTo>
                  <a:pt x="348642" y="224675"/>
                </a:lnTo>
                <a:lnTo>
                  <a:pt x="354982" y="177491"/>
                </a:lnTo>
                <a:lnTo>
                  <a:pt x="348642" y="130306"/>
                </a:lnTo>
                <a:lnTo>
                  <a:pt x="330749" y="87907"/>
                </a:lnTo>
                <a:lnTo>
                  <a:pt x="302996" y="51985"/>
                </a:lnTo>
                <a:lnTo>
                  <a:pt x="267074" y="24232"/>
                </a:lnTo>
                <a:lnTo>
                  <a:pt x="224675" y="6340"/>
                </a:lnTo>
                <a:lnTo>
                  <a:pt x="177491" y="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3825674" y="3775964"/>
            <a:ext cx="11366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Segoe UI"/>
                <a:cs typeface="Segoe UI"/>
              </a:rPr>
              <a:t>2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5861648" y="3701622"/>
            <a:ext cx="355600" cy="355600"/>
          </a:xfrm>
          <a:custGeom>
            <a:avLst/>
            <a:gdLst/>
            <a:ahLst/>
            <a:cxnLst/>
            <a:rect l="l" t="t" r="r" b="b"/>
            <a:pathLst>
              <a:path w="355600" h="355600">
                <a:moveTo>
                  <a:pt x="177492" y="0"/>
                </a:moveTo>
                <a:lnTo>
                  <a:pt x="130308" y="6340"/>
                </a:lnTo>
                <a:lnTo>
                  <a:pt x="87908" y="24232"/>
                </a:lnTo>
                <a:lnTo>
                  <a:pt x="51986" y="51985"/>
                </a:lnTo>
                <a:lnTo>
                  <a:pt x="24233" y="87907"/>
                </a:lnTo>
                <a:lnTo>
                  <a:pt x="6340" y="130306"/>
                </a:lnTo>
                <a:lnTo>
                  <a:pt x="0" y="177491"/>
                </a:lnTo>
                <a:lnTo>
                  <a:pt x="6340" y="224675"/>
                </a:lnTo>
                <a:lnTo>
                  <a:pt x="24233" y="267074"/>
                </a:lnTo>
                <a:lnTo>
                  <a:pt x="51986" y="302996"/>
                </a:lnTo>
                <a:lnTo>
                  <a:pt x="87908" y="330750"/>
                </a:lnTo>
                <a:lnTo>
                  <a:pt x="130308" y="348642"/>
                </a:lnTo>
                <a:lnTo>
                  <a:pt x="177492" y="354982"/>
                </a:lnTo>
                <a:lnTo>
                  <a:pt x="224676" y="348642"/>
                </a:lnTo>
                <a:lnTo>
                  <a:pt x="267075" y="330750"/>
                </a:lnTo>
                <a:lnTo>
                  <a:pt x="302997" y="302996"/>
                </a:lnTo>
                <a:lnTo>
                  <a:pt x="330751" y="267074"/>
                </a:lnTo>
                <a:lnTo>
                  <a:pt x="348643" y="224675"/>
                </a:lnTo>
                <a:lnTo>
                  <a:pt x="354984" y="177491"/>
                </a:lnTo>
                <a:lnTo>
                  <a:pt x="348643" y="130306"/>
                </a:lnTo>
                <a:lnTo>
                  <a:pt x="330751" y="87907"/>
                </a:lnTo>
                <a:lnTo>
                  <a:pt x="302997" y="51985"/>
                </a:lnTo>
                <a:lnTo>
                  <a:pt x="267075" y="24232"/>
                </a:lnTo>
                <a:lnTo>
                  <a:pt x="224676" y="6340"/>
                </a:lnTo>
                <a:lnTo>
                  <a:pt x="177492" y="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5982784" y="3775964"/>
            <a:ext cx="11366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Segoe UI"/>
                <a:cs typeface="Segoe UI"/>
              </a:rPr>
              <a:t>3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0179063" y="3701622"/>
            <a:ext cx="355600" cy="355600"/>
          </a:xfrm>
          <a:custGeom>
            <a:avLst/>
            <a:gdLst/>
            <a:ahLst/>
            <a:cxnLst/>
            <a:rect l="l" t="t" r="r" b="b"/>
            <a:pathLst>
              <a:path w="355600" h="355600">
                <a:moveTo>
                  <a:pt x="177491" y="0"/>
                </a:moveTo>
                <a:lnTo>
                  <a:pt x="130306" y="6340"/>
                </a:lnTo>
                <a:lnTo>
                  <a:pt x="87907" y="24232"/>
                </a:lnTo>
                <a:lnTo>
                  <a:pt x="51985" y="51985"/>
                </a:lnTo>
                <a:lnTo>
                  <a:pt x="24232" y="87907"/>
                </a:lnTo>
                <a:lnTo>
                  <a:pt x="6340" y="130306"/>
                </a:lnTo>
                <a:lnTo>
                  <a:pt x="0" y="177491"/>
                </a:lnTo>
                <a:lnTo>
                  <a:pt x="6340" y="224675"/>
                </a:lnTo>
                <a:lnTo>
                  <a:pt x="24232" y="267074"/>
                </a:lnTo>
                <a:lnTo>
                  <a:pt x="51985" y="302996"/>
                </a:lnTo>
                <a:lnTo>
                  <a:pt x="87907" y="330750"/>
                </a:lnTo>
                <a:lnTo>
                  <a:pt x="130306" y="348642"/>
                </a:lnTo>
                <a:lnTo>
                  <a:pt x="177491" y="354982"/>
                </a:lnTo>
                <a:lnTo>
                  <a:pt x="224675" y="348642"/>
                </a:lnTo>
                <a:lnTo>
                  <a:pt x="267074" y="330750"/>
                </a:lnTo>
                <a:lnTo>
                  <a:pt x="302996" y="302996"/>
                </a:lnTo>
                <a:lnTo>
                  <a:pt x="330750" y="267074"/>
                </a:lnTo>
                <a:lnTo>
                  <a:pt x="348642" y="224675"/>
                </a:lnTo>
                <a:lnTo>
                  <a:pt x="354982" y="177491"/>
                </a:lnTo>
                <a:lnTo>
                  <a:pt x="348642" y="130306"/>
                </a:lnTo>
                <a:lnTo>
                  <a:pt x="330750" y="87907"/>
                </a:lnTo>
                <a:lnTo>
                  <a:pt x="302996" y="51985"/>
                </a:lnTo>
                <a:lnTo>
                  <a:pt x="267074" y="24232"/>
                </a:lnTo>
                <a:lnTo>
                  <a:pt x="224675" y="6340"/>
                </a:lnTo>
                <a:lnTo>
                  <a:pt x="177491" y="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10300199" y="3775964"/>
            <a:ext cx="11366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Segoe UI"/>
                <a:cs typeface="Segoe UI"/>
              </a:rPr>
              <a:t>5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67671" y="4342892"/>
            <a:ext cx="1714500" cy="11226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О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ф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о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р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м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т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ь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э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л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е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к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т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р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онн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у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ю 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подпись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(УКЭП)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и </a:t>
            </a:r>
            <a:r>
              <a:rPr sz="12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установить ПО </a:t>
            </a:r>
            <a:r>
              <a:rPr sz="1200" spc="5" dirty="0">
                <a:solidFill>
                  <a:srgbClr val="6D6E71"/>
                </a:solidFill>
                <a:latin typeface="Segoe UI"/>
                <a:cs typeface="Segoe UI"/>
              </a:rPr>
              <a:t>для </a:t>
            </a:r>
            <a:r>
              <a:rPr sz="12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работы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с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УКЭП.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Подходит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УКЭП </a:t>
            </a:r>
            <a:r>
              <a:rPr sz="1200" spc="5" dirty="0">
                <a:solidFill>
                  <a:srgbClr val="6D6E71"/>
                </a:solidFill>
                <a:latin typeface="Segoe UI"/>
                <a:cs typeface="Segoe UI"/>
              </a:rPr>
              <a:t>для </a:t>
            </a:r>
            <a:r>
              <a:rPr sz="12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сдачи</a:t>
            </a:r>
            <a:r>
              <a:rPr sz="1200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отчетности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359362" y="4342892"/>
            <a:ext cx="1986280" cy="11226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indent="1905" algn="ctr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Проверить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чтение кодов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 сканером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u="sng" spc="-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h</a:t>
            </a:r>
            <a:r>
              <a:rPr sz="1200" u="sng" spc="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tt</a:t>
            </a:r>
            <a:r>
              <a:rPr sz="1200" u="sng" spc="-10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p</a:t>
            </a:r>
            <a:r>
              <a:rPr sz="1200" u="sng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s:</a:t>
            </a:r>
            <a:r>
              <a:rPr sz="1200" u="sng" spc="-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//чест</a:t>
            </a:r>
            <a:r>
              <a:rPr sz="1200" u="sng" spc="-10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н</a:t>
            </a:r>
            <a:r>
              <a:rPr sz="1200" u="sng" spc="-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ы</a:t>
            </a:r>
            <a:r>
              <a:rPr sz="1200" u="sng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йз</a:t>
            </a:r>
            <a:r>
              <a:rPr sz="1200" u="sng" spc="-10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н</a:t>
            </a:r>
            <a:r>
              <a:rPr sz="1200" u="sng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а</a:t>
            </a:r>
            <a:r>
              <a:rPr sz="1200" u="sng" spc="50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к</a:t>
            </a:r>
            <a:r>
              <a:rPr sz="1200" u="sng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.</a:t>
            </a:r>
            <a:r>
              <a:rPr sz="1200" u="sng" spc="-10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р</a:t>
            </a:r>
            <a:r>
              <a:rPr sz="1200" u="sng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ф</a:t>
            </a:r>
            <a:r>
              <a:rPr sz="1200" u="sng" spc="-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/</a:t>
            </a:r>
            <a:r>
              <a:rPr sz="1200" u="sng" spc="-2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b</a:t>
            </a:r>
            <a:r>
              <a:rPr sz="1200" u="sng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a</a:t>
            </a:r>
            <a:r>
              <a:rPr sz="1200" u="sng" spc="-2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rc </a:t>
            </a:r>
            <a:r>
              <a:rPr sz="1200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u="sng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ode/?category=9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,</a:t>
            </a:r>
            <a:endParaRPr sz="1200">
              <a:latin typeface="Segoe UI"/>
              <a:cs typeface="Segoe UI"/>
            </a:endParaRPr>
          </a:p>
          <a:p>
            <a:pPr marL="635" algn="ctr">
              <a:lnSpc>
                <a:spcPts val="1390"/>
              </a:lnSpc>
            </a:pP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при</a:t>
            </a:r>
            <a:r>
              <a:rPr sz="1200" spc="-4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необходимости</a:t>
            </a:r>
            <a:endParaRPr sz="1200">
              <a:latin typeface="Segoe UI"/>
              <a:cs typeface="Segoe UI"/>
            </a:endParaRPr>
          </a:p>
          <a:p>
            <a:pPr marL="2540" algn="ctr">
              <a:lnSpc>
                <a:spcPct val="100000"/>
              </a:lnSpc>
              <a:spcBef>
                <a:spcPts val="45"/>
              </a:spcBef>
            </a:pP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обновить</a:t>
            </a:r>
            <a:r>
              <a:rPr sz="1200" spc="-6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прошивку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323694" y="4342892"/>
            <a:ext cx="1745614" cy="93408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 marR="5080" indent="-635" algn="ctr">
              <a:lnSpc>
                <a:spcPct val="99200"/>
              </a:lnSpc>
              <a:spcBef>
                <a:spcPts val="110"/>
              </a:spcBef>
            </a:pP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Уточнить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у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поставщиков </a:t>
            </a:r>
            <a:r>
              <a:rPr sz="1200" spc="-3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решений,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требуется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ли </a:t>
            </a:r>
            <a:r>
              <a:rPr sz="12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обновление</a:t>
            </a:r>
            <a:r>
              <a:rPr sz="1200" spc="-4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кассового</a:t>
            </a:r>
            <a:r>
              <a:rPr sz="1200" spc="-4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и </a:t>
            </a:r>
            <a:r>
              <a:rPr sz="1200" spc="-3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учетного</a:t>
            </a:r>
            <a:r>
              <a:rPr sz="1200" spc="-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ПО</a:t>
            </a:r>
            <a:r>
              <a:rPr sz="1200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5" dirty="0">
                <a:solidFill>
                  <a:srgbClr val="6D6E71"/>
                </a:solidFill>
                <a:latin typeface="Segoe UI"/>
                <a:cs typeface="Segoe UI"/>
              </a:rPr>
              <a:t>для</a:t>
            </a:r>
            <a:r>
              <a:rPr sz="1200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работы </a:t>
            </a:r>
            <a:r>
              <a:rPr sz="1200" spc="-3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200" spc="-4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молочной</a:t>
            </a:r>
            <a:r>
              <a:rPr sz="1200" spc="-4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продукцией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245451" y="4342892"/>
            <a:ext cx="1588770" cy="75692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 marR="5080" algn="ctr">
              <a:lnSpc>
                <a:spcPct val="97500"/>
              </a:lnSpc>
              <a:spcBef>
                <a:spcPts val="135"/>
              </a:spcBef>
            </a:pP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Заключить</a:t>
            </a:r>
            <a:r>
              <a:rPr sz="1200" spc="-4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договора</a:t>
            </a:r>
            <a:r>
              <a:rPr sz="1200" spc="-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с </a:t>
            </a:r>
            <a:r>
              <a:rPr sz="1200" spc="-3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5" dirty="0">
                <a:solidFill>
                  <a:srgbClr val="6D6E71"/>
                </a:solidFill>
                <a:latin typeface="Segoe UI"/>
                <a:cs typeface="Segoe UI"/>
              </a:rPr>
              <a:t>Оператором-ЦРПТ,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 оператором</a:t>
            </a:r>
            <a:r>
              <a:rPr sz="1200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ЭДО</a:t>
            </a:r>
            <a:endParaRPr sz="1200">
              <a:latin typeface="Segoe UI"/>
              <a:cs typeface="Segoe UI"/>
            </a:endParaRPr>
          </a:p>
          <a:p>
            <a:pPr algn="ctr">
              <a:lnSpc>
                <a:spcPct val="100000"/>
              </a:lnSpc>
              <a:spcBef>
                <a:spcPts val="70"/>
              </a:spcBef>
            </a:pP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1200" spc="-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оператором</a:t>
            </a:r>
            <a:r>
              <a:rPr sz="1200" spc="-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ОФД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029381" y="4342892"/>
            <a:ext cx="1704339" cy="93408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48590" marR="140335" algn="ctr">
              <a:lnSpc>
                <a:spcPct val="97500"/>
              </a:lnSpc>
              <a:spcBef>
                <a:spcPts val="135"/>
              </a:spcBef>
            </a:pP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За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р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е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ги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т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р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ро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ва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т</a:t>
            </a:r>
            <a:r>
              <a:rPr sz="1200" spc="-15" dirty="0">
                <a:solidFill>
                  <a:srgbClr val="6D6E71"/>
                </a:solidFill>
                <a:latin typeface="Segoe UI"/>
                <a:cs typeface="Segoe UI"/>
              </a:rPr>
              <a:t>ь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я  в ЛК и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заполнить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профиль</a:t>
            </a:r>
            <a:endParaRPr sz="1200">
              <a:latin typeface="Segoe UI"/>
              <a:cs typeface="Segoe UI"/>
            </a:endParaRPr>
          </a:p>
          <a:p>
            <a:pPr marL="12700" marR="5080" algn="ctr">
              <a:lnSpc>
                <a:spcPts val="1390"/>
              </a:lnSpc>
              <a:spcBef>
                <a:spcPts val="160"/>
              </a:spcBef>
            </a:pPr>
            <a:r>
              <a:rPr sz="1200" u="sng" spc="-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https://честныйзнак.рф/ </a:t>
            </a:r>
            <a:r>
              <a:rPr sz="1200" spc="-3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u="sng" spc="-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business</a:t>
            </a:r>
            <a:endParaRPr sz="1200">
              <a:latin typeface="Segoe UI"/>
              <a:cs typeface="Segoe UI"/>
            </a:endParaRPr>
          </a:p>
        </p:txBody>
      </p:sp>
      <p:pic>
        <p:nvPicPr>
          <p:cNvPr id="20" name="object 20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356748" y="2341589"/>
            <a:ext cx="1478502" cy="921599"/>
          </a:xfrm>
          <a:prstGeom prst="rect">
            <a:avLst/>
          </a:prstGeom>
        </p:spPr>
      </p:pic>
      <p:pic>
        <p:nvPicPr>
          <p:cNvPr id="21" name="object 2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467718" y="2215272"/>
            <a:ext cx="826461" cy="1174233"/>
          </a:xfrm>
          <a:prstGeom prst="rect">
            <a:avLst/>
          </a:prstGeom>
        </p:spPr>
      </p:pic>
      <p:pic>
        <p:nvPicPr>
          <p:cNvPr id="22" name="object 2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714476" y="2289317"/>
            <a:ext cx="1026144" cy="1026144"/>
          </a:xfrm>
          <a:prstGeom prst="rect">
            <a:avLst/>
          </a:prstGeom>
        </p:spPr>
      </p:pic>
      <p:pic>
        <p:nvPicPr>
          <p:cNvPr id="23" name="object 2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7629620" y="2175778"/>
            <a:ext cx="1253221" cy="1253221"/>
          </a:xfrm>
          <a:prstGeom prst="rect">
            <a:avLst/>
          </a:prstGeom>
        </p:spPr>
      </p:pic>
      <p:pic>
        <p:nvPicPr>
          <p:cNvPr id="24" name="object 24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043981" y="2341589"/>
            <a:ext cx="1439999" cy="921599"/>
          </a:xfrm>
          <a:prstGeom prst="rect">
            <a:avLst/>
          </a:prstGeom>
        </p:spPr>
      </p:pic>
      <p:sp>
        <p:nvSpPr>
          <p:cNvPr id="25" name="object 25"/>
          <p:cNvSpPr/>
          <p:nvPr/>
        </p:nvSpPr>
        <p:spPr>
          <a:xfrm>
            <a:off x="3892063" y="6062301"/>
            <a:ext cx="4246880" cy="531495"/>
          </a:xfrm>
          <a:custGeom>
            <a:avLst/>
            <a:gdLst/>
            <a:ahLst/>
            <a:cxnLst/>
            <a:rect l="l" t="t" r="r" b="b"/>
            <a:pathLst>
              <a:path w="4246880" h="531495">
                <a:moveTo>
                  <a:pt x="4157899" y="0"/>
                </a:moveTo>
                <a:lnTo>
                  <a:pt x="88507" y="0"/>
                </a:lnTo>
                <a:lnTo>
                  <a:pt x="54056" y="6955"/>
                </a:lnTo>
                <a:lnTo>
                  <a:pt x="25923" y="25923"/>
                </a:lnTo>
                <a:lnTo>
                  <a:pt x="6955" y="54057"/>
                </a:lnTo>
                <a:lnTo>
                  <a:pt x="0" y="88508"/>
                </a:lnTo>
                <a:lnTo>
                  <a:pt x="0" y="442540"/>
                </a:lnTo>
                <a:lnTo>
                  <a:pt x="6955" y="476991"/>
                </a:lnTo>
                <a:lnTo>
                  <a:pt x="25923" y="505125"/>
                </a:lnTo>
                <a:lnTo>
                  <a:pt x="54056" y="524093"/>
                </a:lnTo>
                <a:lnTo>
                  <a:pt x="88507" y="531048"/>
                </a:lnTo>
                <a:lnTo>
                  <a:pt x="4157899" y="531048"/>
                </a:lnTo>
                <a:lnTo>
                  <a:pt x="4192351" y="524093"/>
                </a:lnTo>
                <a:lnTo>
                  <a:pt x="4220485" y="505125"/>
                </a:lnTo>
                <a:lnTo>
                  <a:pt x="4239453" y="476991"/>
                </a:lnTo>
                <a:lnTo>
                  <a:pt x="4246408" y="442540"/>
                </a:lnTo>
                <a:lnTo>
                  <a:pt x="4246408" y="88508"/>
                </a:lnTo>
                <a:lnTo>
                  <a:pt x="4239453" y="54057"/>
                </a:lnTo>
                <a:lnTo>
                  <a:pt x="4220485" y="25923"/>
                </a:lnTo>
                <a:lnTo>
                  <a:pt x="4192351" y="6955"/>
                </a:lnTo>
                <a:lnTo>
                  <a:pt x="4157899" y="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4152336" y="6211316"/>
            <a:ext cx="37249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solidFill>
                  <a:srgbClr val="FFFFFF"/>
                </a:solidFill>
                <a:latin typeface="Segoe UI"/>
                <a:cs typeface="Segoe UI"/>
              </a:rPr>
              <a:t>Средняя</a:t>
            </a:r>
            <a:r>
              <a:rPr sz="1200" spc="-20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Segoe UI"/>
                <a:cs typeface="Segoe UI"/>
              </a:rPr>
              <a:t>стоимость</a:t>
            </a:r>
            <a:r>
              <a:rPr sz="1200" spc="-15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Segoe UI"/>
                <a:cs typeface="Segoe UI"/>
              </a:rPr>
              <a:t>УКЭП</a:t>
            </a:r>
            <a:r>
              <a:rPr sz="1200" spc="-15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200" dirty="0">
                <a:solidFill>
                  <a:srgbClr val="FFFFFF"/>
                </a:solidFill>
                <a:latin typeface="Segoe UI"/>
                <a:cs typeface="Segoe UI"/>
              </a:rPr>
              <a:t>и</a:t>
            </a:r>
            <a:r>
              <a:rPr sz="1200" spc="-15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200" dirty="0">
                <a:solidFill>
                  <a:srgbClr val="FFFFFF"/>
                </a:solidFill>
                <a:latin typeface="Segoe UI"/>
                <a:cs typeface="Segoe UI"/>
              </a:rPr>
              <a:t>2D</a:t>
            </a:r>
            <a:r>
              <a:rPr sz="1200" spc="-15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Segoe UI"/>
                <a:cs typeface="Segoe UI"/>
              </a:rPr>
              <a:t>сканера:</a:t>
            </a:r>
            <a:r>
              <a:rPr sz="1200" spc="-10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Segoe UI"/>
                <a:cs typeface="Segoe UI"/>
              </a:rPr>
              <a:t>7-10</a:t>
            </a:r>
            <a:r>
              <a:rPr sz="1200" spc="-10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Segoe UI"/>
                <a:cs typeface="Segoe UI"/>
              </a:rPr>
              <a:t>тыс.</a:t>
            </a:r>
            <a:r>
              <a:rPr sz="1200" spc="-15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Segoe UI"/>
                <a:cs typeface="Segoe UI"/>
              </a:rPr>
              <a:t>руб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515999" y="364671"/>
            <a:ext cx="11160125" cy="720090"/>
          </a:xfrm>
          <a:custGeom>
            <a:avLst/>
            <a:gdLst/>
            <a:ahLst/>
            <a:cxnLst/>
            <a:rect l="l" t="t" r="r" b="b"/>
            <a:pathLst>
              <a:path w="11160125" h="720090">
                <a:moveTo>
                  <a:pt x="11040003" y="0"/>
                </a:moveTo>
                <a:lnTo>
                  <a:pt x="119996" y="0"/>
                </a:lnTo>
                <a:lnTo>
                  <a:pt x="73288" y="9430"/>
                </a:lnTo>
                <a:lnTo>
                  <a:pt x="35146" y="35146"/>
                </a:lnTo>
                <a:lnTo>
                  <a:pt x="9429" y="73289"/>
                </a:lnTo>
                <a:lnTo>
                  <a:pt x="0" y="119998"/>
                </a:lnTo>
                <a:lnTo>
                  <a:pt x="0" y="600002"/>
                </a:lnTo>
                <a:lnTo>
                  <a:pt x="9429" y="646710"/>
                </a:lnTo>
                <a:lnTo>
                  <a:pt x="35146" y="684853"/>
                </a:lnTo>
                <a:lnTo>
                  <a:pt x="73288" y="710569"/>
                </a:lnTo>
                <a:lnTo>
                  <a:pt x="119996" y="719999"/>
                </a:lnTo>
                <a:lnTo>
                  <a:pt x="11040003" y="719999"/>
                </a:lnTo>
                <a:lnTo>
                  <a:pt x="11086711" y="710569"/>
                </a:lnTo>
                <a:lnTo>
                  <a:pt x="11124853" y="684853"/>
                </a:lnTo>
                <a:lnTo>
                  <a:pt x="11150569" y="646710"/>
                </a:lnTo>
                <a:lnTo>
                  <a:pt x="11159999" y="600002"/>
                </a:lnTo>
                <a:lnTo>
                  <a:pt x="11159999" y="119998"/>
                </a:lnTo>
                <a:lnTo>
                  <a:pt x="11150569" y="73289"/>
                </a:lnTo>
                <a:lnTo>
                  <a:pt x="11124853" y="35146"/>
                </a:lnTo>
                <a:lnTo>
                  <a:pt x="11086711" y="9430"/>
                </a:lnTo>
                <a:lnTo>
                  <a:pt x="11040003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>
            <a:spLocks noGrp="1"/>
          </p:cNvSpPr>
          <p:nvPr>
            <p:ph type="title"/>
          </p:nvPr>
        </p:nvSpPr>
        <p:spPr>
          <a:xfrm>
            <a:off x="718448" y="517651"/>
            <a:ext cx="53098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5" dirty="0"/>
              <a:t>Что </a:t>
            </a:r>
            <a:r>
              <a:rPr spc="-5" dirty="0"/>
              <a:t>делать</a:t>
            </a:r>
            <a:r>
              <a:rPr spc="-15" dirty="0"/>
              <a:t> </a:t>
            </a:r>
            <a:r>
              <a:rPr spc="-5" dirty="0"/>
              <a:t>новой</a:t>
            </a:r>
            <a:r>
              <a:rPr spc="-20" dirty="0"/>
              <a:t> </a:t>
            </a:r>
            <a:r>
              <a:rPr spc="-10" dirty="0"/>
              <a:t>розничной</a:t>
            </a:r>
            <a:r>
              <a:rPr spc="-20" dirty="0"/>
              <a:t> точке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7999"/>
                </a:lnTo>
                <a:lnTo>
                  <a:pt x="12192000" y="6857999"/>
                </a:lnTo>
                <a:lnTo>
                  <a:pt x="1219200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380777" y="1859996"/>
            <a:ext cx="4300646" cy="2825976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380777" y="5213338"/>
            <a:ext cx="114300" cy="127000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652557" y="5161788"/>
            <a:ext cx="2978785" cy="87630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99500"/>
              </a:lnSpc>
              <a:spcBef>
                <a:spcPts val="105"/>
              </a:spcBef>
            </a:pPr>
            <a:r>
              <a:rPr sz="1400" spc="-10" dirty="0">
                <a:solidFill>
                  <a:srgbClr val="595959"/>
                </a:solidFill>
                <a:latin typeface="Segoe UI"/>
                <a:cs typeface="Segoe UI"/>
              </a:rPr>
              <a:t>Уточните </a:t>
            </a:r>
            <a:r>
              <a:rPr sz="1400" dirty="0">
                <a:solidFill>
                  <a:srgbClr val="595959"/>
                </a:solidFill>
                <a:latin typeface="Segoe UI"/>
                <a:cs typeface="Segoe UI"/>
              </a:rPr>
              <a:t>у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поставщиков решений, </a:t>
            </a:r>
            <a:r>
              <a:rPr sz="1400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требуется ли </a:t>
            </a:r>
            <a:r>
              <a:rPr sz="1400" dirty="0">
                <a:solidFill>
                  <a:srgbClr val="595959"/>
                </a:solidFill>
                <a:latin typeface="Segoe UI"/>
                <a:cs typeface="Segoe UI"/>
              </a:rPr>
              <a:t>обновление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кассового </a:t>
            </a:r>
            <a:r>
              <a:rPr sz="1400" spc="-370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595959"/>
                </a:solidFill>
                <a:latin typeface="Segoe UI"/>
                <a:cs typeface="Segoe UI"/>
              </a:rPr>
              <a:t>и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учетного </a:t>
            </a:r>
            <a:r>
              <a:rPr sz="1400" dirty="0">
                <a:solidFill>
                  <a:srgbClr val="595959"/>
                </a:solidFill>
                <a:latin typeface="Segoe UI"/>
                <a:cs typeface="Segoe UI"/>
              </a:rPr>
              <a:t>ПО для </a:t>
            </a:r>
            <a:r>
              <a:rPr sz="1400" spc="-10" dirty="0">
                <a:solidFill>
                  <a:srgbClr val="595959"/>
                </a:solidFill>
                <a:latin typeface="Segoe UI"/>
                <a:cs typeface="Segoe UI"/>
              </a:rPr>
              <a:t>работы </a:t>
            </a:r>
            <a:r>
              <a:rPr sz="1400" dirty="0">
                <a:solidFill>
                  <a:srgbClr val="595959"/>
                </a:solidFill>
                <a:latin typeface="Segoe UI"/>
                <a:cs typeface="Segoe UI"/>
              </a:rPr>
              <a:t>с </a:t>
            </a:r>
            <a:r>
              <a:rPr sz="1400" spc="5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молочной продукцией.</a:t>
            </a:r>
            <a:endParaRPr sz="1400">
              <a:latin typeface="Segoe UI"/>
              <a:cs typeface="Segoe UI"/>
            </a:endParaRPr>
          </a:p>
        </p:txBody>
      </p:sp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620776" y="5099039"/>
            <a:ext cx="1079999" cy="1079999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6530530" y="1859997"/>
            <a:ext cx="4320000" cy="4718359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530531" y="1465483"/>
            <a:ext cx="114300" cy="127000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6803581" y="1415796"/>
            <a:ext cx="181991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Попишите</a:t>
            </a:r>
            <a:r>
              <a:rPr sz="1400" spc="-35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документы</a:t>
            </a:r>
            <a:endParaRPr sz="1400">
              <a:latin typeface="Segoe UI"/>
              <a:cs typeface="Segoe UI"/>
            </a:endParaRPr>
          </a:p>
        </p:txBody>
      </p:sp>
      <p:pic>
        <p:nvPicPr>
          <p:cNvPr id="10" name="object 1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341469" y="1465483"/>
            <a:ext cx="114300" cy="127000"/>
          </a:xfrm>
          <a:prstGeom prst="rect">
            <a:avLst/>
          </a:prstGeom>
        </p:spPr>
      </p:pic>
      <p:sp>
        <p:nvSpPr>
          <p:cNvPr id="11" name="object 11"/>
          <p:cNvSpPr txBox="1"/>
          <p:nvPr/>
        </p:nvSpPr>
        <p:spPr>
          <a:xfrm>
            <a:off x="1614519" y="1415796"/>
            <a:ext cx="311594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15" dirty="0">
                <a:solidFill>
                  <a:srgbClr val="595959"/>
                </a:solidFill>
                <a:latin typeface="Segoe UI"/>
                <a:cs typeface="Segoe UI"/>
              </a:rPr>
              <a:t>Добавьте</a:t>
            </a:r>
            <a:r>
              <a:rPr sz="1400" spc="-10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товарную</a:t>
            </a:r>
            <a:r>
              <a:rPr sz="1400" spc="-15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группу</a:t>
            </a:r>
            <a:r>
              <a:rPr sz="1400" spc="-15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«Молоко»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515999" y="364671"/>
            <a:ext cx="11160125" cy="720090"/>
          </a:xfrm>
          <a:custGeom>
            <a:avLst/>
            <a:gdLst/>
            <a:ahLst/>
            <a:cxnLst/>
            <a:rect l="l" t="t" r="r" b="b"/>
            <a:pathLst>
              <a:path w="11160125" h="720090">
                <a:moveTo>
                  <a:pt x="11040003" y="0"/>
                </a:moveTo>
                <a:lnTo>
                  <a:pt x="119996" y="0"/>
                </a:lnTo>
                <a:lnTo>
                  <a:pt x="73288" y="9430"/>
                </a:lnTo>
                <a:lnTo>
                  <a:pt x="35146" y="35146"/>
                </a:lnTo>
                <a:lnTo>
                  <a:pt x="9429" y="73289"/>
                </a:lnTo>
                <a:lnTo>
                  <a:pt x="0" y="119998"/>
                </a:lnTo>
                <a:lnTo>
                  <a:pt x="0" y="600002"/>
                </a:lnTo>
                <a:lnTo>
                  <a:pt x="9429" y="646710"/>
                </a:lnTo>
                <a:lnTo>
                  <a:pt x="35146" y="684853"/>
                </a:lnTo>
                <a:lnTo>
                  <a:pt x="73288" y="710569"/>
                </a:lnTo>
                <a:lnTo>
                  <a:pt x="119996" y="719999"/>
                </a:lnTo>
                <a:lnTo>
                  <a:pt x="11040003" y="719999"/>
                </a:lnTo>
                <a:lnTo>
                  <a:pt x="11086711" y="710569"/>
                </a:lnTo>
                <a:lnTo>
                  <a:pt x="11124853" y="684853"/>
                </a:lnTo>
                <a:lnTo>
                  <a:pt x="11150569" y="646710"/>
                </a:lnTo>
                <a:lnTo>
                  <a:pt x="11159999" y="600002"/>
                </a:lnTo>
                <a:lnTo>
                  <a:pt x="11159999" y="119998"/>
                </a:lnTo>
                <a:lnTo>
                  <a:pt x="11150569" y="73289"/>
                </a:lnTo>
                <a:lnTo>
                  <a:pt x="11124853" y="35146"/>
                </a:lnTo>
                <a:lnTo>
                  <a:pt x="11086711" y="9430"/>
                </a:lnTo>
                <a:lnTo>
                  <a:pt x="11040003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>
            <a:spLocks noGrp="1"/>
          </p:cNvSpPr>
          <p:nvPr>
            <p:ph type="title"/>
          </p:nvPr>
        </p:nvSpPr>
        <p:spPr>
          <a:xfrm>
            <a:off x="718448" y="517651"/>
            <a:ext cx="720852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Если</a:t>
            </a:r>
            <a:r>
              <a:rPr spc="-10" dirty="0"/>
              <a:t> </a:t>
            </a:r>
            <a:r>
              <a:rPr spc="-15" dirty="0"/>
              <a:t>уже</a:t>
            </a:r>
            <a:r>
              <a:rPr spc="5" dirty="0"/>
              <a:t> </a:t>
            </a:r>
            <a:r>
              <a:rPr spc="-15" dirty="0"/>
              <a:t>продаете</a:t>
            </a:r>
            <a:r>
              <a:rPr spc="5" dirty="0"/>
              <a:t> </a:t>
            </a:r>
            <a:r>
              <a:rPr spc="-10" dirty="0"/>
              <a:t>маркированную</a:t>
            </a:r>
            <a:r>
              <a:rPr dirty="0"/>
              <a:t> </a:t>
            </a:r>
            <a:r>
              <a:rPr spc="-10" dirty="0"/>
              <a:t>продукцию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15999" y="364671"/>
            <a:ext cx="11160125" cy="720090"/>
          </a:xfrm>
          <a:custGeom>
            <a:avLst/>
            <a:gdLst/>
            <a:ahLst/>
            <a:cxnLst/>
            <a:rect l="l" t="t" r="r" b="b"/>
            <a:pathLst>
              <a:path w="11160125" h="720090">
                <a:moveTo>
                  <a:pt x="11040003" y="0"/>
                </a:moveTo>
                <a:lnTo>
                  <a:pt x="119996" y="0"/>
                </a:lnTo>
                <a:lnTo>
                  <a:pt x="73288" y="9430"/>
                </a:lnTo>
                <a:lnTo>
                  <a:pt x="35146" y="35146"/>
                </a:lnTo>
                <a:lnTo>
                  <a:pt x="9429" y="73289"/>
                </a:lnTo>
                <a:lnTo>
                  <a:pt x="0" y="119998"/>
                </a:lnTo>
                <a:lnTo>
                  <a:pt x="0" y="600002"/>
                </a:lnTo>
                <a:lnTo>
                  <a:pt x="9429" y="646710"/>
                </a:lnTo>
                <a:lnTo>
                  <a:pt x="35146" y="684853"/>
                </a:lnTo>
                <a:lnTo>
                  <a:pt x="73288" y="710569"/>
                </a:lnTo>
                <a:lnTo>
                  <a:pt x="119996" y="719999"/>
                </a:lnTo>
                <a:lnTo>
                  <a:pt x="11040003" y="719999"/>
                </a:lnTo>
                <a:lnTo>
                  <a:pt x="11086711" y="710569"/>
                </a:lnTo>
                <a:lnTo>
                  <a:pt x="11124853" y="684853"/>
                </a:lnTo>
                <a:lnTo>
                  <a:pt x="11150569" y="646710"/>
                </a:lnTo>
                <a:lnTo>
                  <a:pt x="11159999" y="600002"/>
                </a:lnTo>
                <a:lnTo>
                  <a:pt x="11159999" y="119998"/>
                </a:lnTo>
                <a:lnTo>
                  <a:pt x="11150569" y="73289"/>
                </a:lnTo>
                <a:lnTo>
                  <a:pt x="11124853" y="35146"/>
                </a:lnTo>
                <a:lnTo>
                  <a:pt x="11086711" y="9430"/>
                </a:lnTo>
                <a:lnTo>
                  <a:pt x="11040003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718448" y="517651"/>
            <a:ext cx="478853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Обновление</a:t>
            </a:r>
            <a:r>
              <a:rPr spc="-25" dirty="0"/>
              <a:t> </a:t>
            </a:r>
            <a:r>
              <a:rPr spc="-10" dirty="0"/>
              <a:t>кассового</a:t>
            </a:r>
            <a:r>
              <a:rPr spc="-20" dirty="0"/>
              <a:t> </a:t>
            </a:r>
            <a:r>
              <a:rPr dirty="0"/>
              <a:t>ПО</a:t>
            </a:r>
            <a:r>
              <a:rPr spc="-20" dirty="0"/>
              <a:t> </a:t>
            </a:r>
            <a:r>
              <a:rPr spc="-5" dirty="0"/>
              <a:t>(1/2)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1891903" y="1593596"/>
            <a:ext cx="8364855" cy="11137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solidFill>
                  <a:srgbClr val="6D6E71"/>
                </a:solidFill>
                <a:latin typeface="Segoe UI"/>
                <a:cs typeface="Segoe UI"/>
              </a:rPr>
              <a:t>ФФД</a:t>
            </a:r>
            <a:r>
              <a:rPr sz="1800" b="1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spc="-5" dirty="0">
                <a:solidFill>
                  <a:srgbClr val="6D6E71"/>
                </a:solidFill>
                <a:latin typeface="Segoe UI"/>
                <a:cs typeface="Segoe UI"/>
              </a:rPr>
              <a:t>1.2.</a:t>
            </a:r>
            <a:r>
              <a:rPr sz="1800" b="1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spc="-5" dirty="0">
                <a:solidFill>
                  <a:srgbClr val="6D6E71"/>
                </a:solidFill>
                <a:latin typeface="Segoe UI"/>
                <a:cs typeface="Segoe UI"/>
              </a:rPr>
              <a:t>Изменения</a:t>
            </a:r>
            <a:r>
              <a:rPr sz="1800" b="1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в </a:t>
            </a:r>
            <a:r>
              <a:rPr sz="1800" b="1" spc="-10" dirty="0">
                <a:solidFill>
                  <a:srgbClr val="6D6E71"/>
                </a:solidFill>
                <a:latin typeface="Segoe UI"/>
                <a:cs typeface="Segoe UI"/>
              </a:rPr>
              <a:t>ФЗ-54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spc="-5" dirty="0">
                <a:solidFill>
                  <a:srgbClr val="6D6E71"/>
                </a:solidFill>
                <a:latin typeface="Segoe UI"/>
                <a:cs typeface="Segoe UI"/>
              </a:rPr>
              <a:t>вступили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 в</a:t>
            </a:r>
            <a:r>
              <a:rPr sz="1800" b="1" spc="-5" dirty="0">
                <a:solidFill>
                  <a:srgbClr val="6D6E71"/>
                </a:solidFill>
                <a:latin typeface="Segoe UI"/>
                <a:cs typeface="Segoe UI"/>
              </a:rPr>
              <a:t> силу</a:t>
            </a:r>
            <a:r>
              <a:rPr sz="1800" b="1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b="1" spc="-5" dirty="0">
                <a:solidFill>
                  <a:srgbClr val="6D6E71"/>
                </a:solidFill>
                <a:latin typeface="Segoe UI"/>
                <a:cs typeface="Segoe UI"/>
              </a:rPr>
              <a:t>06.08.2019</a:t>
            </a:r>
            <a:endParaRPr sz="1800">
              <a:latin typeface="Segoe UI"/>
              <a:cs typeface="Segoe UI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1650">
              <a:latin typeface="Segoe UI"/>
              <a:cs typeface="Segoe UI"/>
            </a:endParaRPr>
          </a:p>
          <a:p>
            <a:pPr marL="372745" marR="5080" indent="-360045">
              <a:lnSpc>
                <a:spcPts val="2110"/>
              </a:lnSpc>
              <a:tabLst>
                <a:tab pos="372110" algn="l"/>
              </a:tabLst>
            </a:pPr>
            <a:r>
              <a:rPr sz="1800" dirty="0">
                <a:solidFill>
                  <a:srgbClr val="6D6E71"/>
                </a:solidFill>
                <a:latin typeface="Segoe UI"/>
                <a:cs typeface="Segoe UI"/>
              </a:rPr>
              <a:t>1.	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Появилось</a:t>
            </a:r>
            <a:r>
              <a:rPr sz="18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10" dirty="0">
                <a:solidFill>
                  <a:srgbClr val="6D6E71"/>
                </a:solidFill>
                <a:latin typeface="Segoe UI"/>
                <a:cs typeface="Segoe UI"/>
              </a:rPr>
              <a:t>обязательство</a:t>
            </a:r>
            <a:r>
              <a:rPr sz="1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10" dirty="0">
                <a:solidFill>
                  <a:srgbClr val="6D6E71"/>
                </a:solidFill>
                <a:latin typeface="Segoe UI"/>
                <a:cs typeface="Segoe UI"/>
              </a:rPr>
              <a:t>проводить</a:t>
            </a:r>
            <a:r>
              <a:rPr sz="18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локальную</a:t>
            </a:r>
            <a:r>
              <a:rPr sz="18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проверку</a:t>
            </a:r>
            <a:r>
              <a:rPr sz="1800" spc="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dirty="0">
                <a:solidFill>
                  <a:srgbClr val="6D6E71"/>
                </a:solidFill>
                <a:latin typeface="Segoe UI"/>
                <a:cs typeface="Segoe UI"/>
              </a:rPr>
              <a:t>КМ</a:t>
            </a:r>
            <a:r>
              <a:rPr sz="1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посредством </a:t>
            </a:r>
            <a:r>
              <a:rPr sz="1800" spc="-47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dirty="0">
                <a:solidFill>
                  <a:srgbClr val="6D6E71"/>
                </a:solidFill>
                <a:latin typeface="Segoe UI"/>
                <a:cs typeface="Segoe UI"/>
              </a:rPr>
              <a:t>ФН</a:t>
            </a:r>
            <a:r>
              <a:rPr sz="18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dirty="0">
                <a:solidFill>
                  <a:srgbClr val="6D6E71"/>
                </a:solidFill>
                <a:latin typeface="Segoe UI"/>
                <a:cs typeface="Segoe UI"/>
              </a:rPr>
              <a:t>1.2.</a:t>
            </a:r>
            <a:r>
              <a:rPr sz="18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Но при </a:t>
            </a:r>
            <a:r>
              <a:rPr sz="1800" spc="-20" dirty="0">
                <a:solidFill>
                  <a:srgbClr val="6D6E71"/>
                </a:solidFill>
                <a:latin typeface="Segoe UI"/>
                <a:cs typeface="Segoe UI"/>
              </a:rPr>
              <a:t>этом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10" dirty="0">
                <a:solidFill>
                  <a:srgbClr val="6D6E71"/>
                </a:solidFill>
                <a:latin typeface="Segoe UI"/>
                <a:cs typeface="Segoe UI"/>
              </a:rPr>
              <a:t>сохраняется возможность</a:t>
            </a:r>
            <a:r>
              <a:rPr sz="18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15" dirty="0">
                <a:solidFill>
                  <a:srgbClr val="6D6E71"/>
                </a:solidFill>
                <a:latin typeface="Segoe UI"/>
                <a:cs typeface="Segoe UI"/>
              </a:rPr>
              <a:t>работать</a:t>
            </a:r>
            <a:r>
              <a:rPr sz="18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по ФФД 1.05/1.</a:t>
            </a:r>
            <a:endParaRPr sz="1800">
              <a:latin typeface="Segoe UI"/>
              <a:cs typeface="Segoe U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264648" y="2800404"/>
            <a:ext cx="4930140" cy="304800"/>
          </a:xfrm>
          <a:prstGeom prst="rect">
            <a:avLst/>
          </a:prstGeom>
          <a:solidFill>
            <a:srgbClr val="F6F52E"/>
          </a:solidFill>
        </p:spPr>
        <p:txBody>
          <a:bodyPr vert="horz" wrap="square" lIns="0" tIns="247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95"/>
              </a:spcBef>
            </a:pP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(ФН</a:t>
            </a:r>
            <a:r>
              <a:rPr sz="18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добавлен</a:t>
            </a:r>
            <a:r>
              <a:rPr sz="18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dirty="0">
                <a:solidFill>
                  <a:srgbClr val="6D6E71"/>
                </a:solidFill>
                <a:latin typeface="Segoe UI"/>
                <a:cs typeface="Segoe UI"/>
              </a:rPr>
              <a:t>в</a:t>
            </a:r>
            <a:r>
              <a:rPr sz="18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реестре</a:t>
            </a:r>
            <a:r>
              <a:rPr sz="18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ФНС,</a:t>
            </a:r>
            <a:r>
              <a:rPr sz="18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800" dirty="0">
                <a:solidFill>
                  <a:srgbClr val="6D6E71"/>
                </a:solidFill>
                <a:latin typeface="Segoe UI"/>
                <a:cs typeface="Segoe UI"/>
              </a:rPr>
              <a:t>в</a:t>
            </a:r>
            <a:r>
              <a:rPr sz="1800" spc="-10" dirty="0">
                <a:solidFill>
                  <a:srgbClr val="6D6E71"/>
                </a:solidFill>
                <a:latin typeface="Segoe UI"/>
                <a:cs typeface="Segoe UI"/>
              </a:rPr>
              <a:t> народе: </a:t>
            </a:r>
            <a:r>
              <a:rPr sz="1800" spc="-5" dirty="0">
                <a:solidFill>
                  <a:srgbClr val="6D6E71"/>
                </a:solidFill>
                <a:latin typeface="Segoe UI"/>
                <a:cs typeface="Segoe UI"/>
              </a:rPr>
              <a:t>ФН-М)</a:t>
            </a:r>
            <a:endParaRPr sz="1800">
              <a:latin typeface="Segoe UI"/>
              <a:cs typeface="Segoe UI"/>
            </a:endParaRPr>
          </a:p>
        </p:txBody>
      </p:sp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60203" y="3676704"/>
            <a:ext cx="152400" cy="165100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60203" y="4083104"/>
            <a:ext cx="152400" cy="165100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60203" y="4476804"/>
            <a:ext cx="152400" cy="165100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60203" y="4883204"/>
            <a:ext cx="152400" cy="165100"/>
          </a:xfrm>
          <a:prstGeom prst="rect">
            <a:avLst/>
          </a:prstGeom>
        </p:spPr>
      </p:pic>
      <p:sp>
        <p:nvSpPr>
          <p:cNvPr id="10" name="object 10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72110" marR="1404620" indent="-372110">
              <a:lnSpc>
                <a:spcPct val="144400"/>
              </a:lnSpc>
              <a:spcBef>
                <a:spcPts val="100"/>
              </a:spcBef>
              <a:buAutoNum type="arabicPeriod" startAt="2"/>
              <a:tabLst>
                <a:tab pos="372110" algn="l"/>
                <a:tab pos="372745" algn="l"/>
              </a:tabLst>
            </a:pPr>
            <a:r>
              <a:rPr spc="-5" dirty="0"/>
              <a:t>Добавлены</a:t>
            </a:r>
            <a:r>
              <a:rPr spc="-20" dirty="0"/>
              <a:t> </a:t>
            </a:r>
            <a:r>
              <a:rPr dirty="0"/>
              <a:t>4</a:t>
            </a:r>
            <a:r>
              <a:rPr spc="-10" dirty="0"/>
              <a:t> </a:t>
            </a:r>
            <a:r>
              <a:rPr spc="-5" dirty="0"/>
              <a:t>новых</a:t>
            </a:r>
            <a:r>
              <a:rPr spc="-15" dirty="0"/>
              <a:t> </a:t>
            </a:r>
            <a:r>
              <a:rPr spc="-5" dirty="0"/>
              <a:t>вида</a:t>
            </a:r>
            <a:r>
              <a:rPr spc="-20" dirty="0"/>
              <a:t> </a:t>
            </a:r>
            <a:r>
              <a:rPr dirty="0"/>
              <a:t>фискальных</a:t>
            </a:r>
            <a:r>
              <a:rPr spc="-20" dirty="0"/>
              <a:t> </a:t>
            </a:r>
            <a:r>
              <a:rPr spc="-5" dirty="0"/>
              <a:t>документа</a:t>
            </a:r>
            <a:r>
              <a:rPr spc="-20" dirty="0"/>
              <a:t> </a:t>
            </a:r>
            <a:r>
              <a:rPr dirty="0"/>
              <a:t>в</a:t>
            </a:r>
            <a:r>
              <a:rPr spc="-20" dirty="0"/>
              <a:t> </a:t>
            </a:r>
            <a:r>
              <a:rPr dirty="0"/>
              <a:t>ФФД </a:t>
            </a:r>
            <a:r>
              <a:rPr spc="-480" dirty="0"/>
              <a:t> </a:t>
            </a:r>
            <a:r>
              <a:rPr spc="-5" dirty="0"/>
              <a:t>Запрос </a:t>
            </a:r>
            <a:r>
              <a:rPr dirty="0"/>
              <a:t>о</a:t>
            </a:r>
            <a:r>
              <a:rPr spc="-10" dirty="0"/>
              <a:t> </a:t>
            </a:r>
            <a:r>
              <a:rPr spc="-20" dirty="0"/>
              <a:t>коде</a:t>
            </a:r>
            <a:r>
              <a:rPr spc="-10" dirty="0"/>
              <a:t> </a:t>
            </a:r>
            <a:r>
              <a:rPr spc="-5" dirty="0"/>
              <a:t>маркировки</a:t>
            </a:r>
          </a:p>
          <a:p>
            <a:pPr marL="732790" marR="1403350">
              <a:lnSpc>
                <a:spcPct val="143300"/>
              </a:lnSpc>
              <a:spcBef>
                <a:spcPts val="95"/>
              </a:spcBef>
            </a:pPr>
            <a:r>
              <a:rPr spc="-10" dirty="0"/>
              <a:t>Уведомление </a:t>
            </a:r>
            <a:r>
              <a:rPr dirty="0"/>
              <a:t>о </a:t>
            </a:r>
            <a:r>
              <a:rPr spc="-5" dirty="0"/>
              <a:t>реализации маркированного </a:t>
            </a:r>
            <a:r>
              <a:rPr spc="-15" dirty="0"/>
              <a:t>товара </a:t>
            </a:r>
            <a:r>
              <a:rPr spc="-480" dirty="0"/>
              <a:t> </a:t>
            </a:r>
            <a:r>
              <a:rPr spc="-5" dirty="0"/>
              <a:t>Ответ</a:t>
            </a:r>
            <a:r>
              <a:rPr spc="-15" dirty="0"/>
              <a:t> </a:t>
            </a:r>
            <a:r>
              <a:rPr spc="-5" dirty="0"/>
              <a:t>на</a:t>
            </a:r>
            <a:r>
              <a:rPr spc="-10" dirty="0"/>
              <a:t> </a:t>
            </a:r>
            <a:r>
              <a:rPr spc="-5" dirty="0"/>
              <a:t>запрос</a:t>
            </a:r>
            <a:r>
              <a:rPr dirty="0"/>
              <a:t> </a:t>
            </a:r>
            <a:r>
              <a:rPr spc="-5" dirty="0"/>
              <a:t>(о</a:t>
            </a:r>
            <a:r>
              <a:rPr spc="-15" dirty="0"/>
              <a:t> </a:t>
            </a:r>
            <a:r>
              <a:rPr dirty="0"/>
              <a:t>статусе</a:t>
            </a:r>
            <a:r>
              <a:rPr spc="-10" dirty="0"/>
              <a:t> </a:t>
            </a:r>
            <a:r>
              <a:rPr dirty="0"/>
              <a:t>КМ)</a:t>
            </a:r>
          </a:p>
          <a:p>
            <a:pPr marL="732790">
              <a:lnSpc>
                <a:spcPct val="100000"/>
              </a:lnSpc>
              <a:spcBef>
                <a:spcPts val="1035"/>
              </a:spcBef>
            </a:pPr>
            <a:r>
              <a:rPr spc="-5" dirty="0"/>
              <a:t>Квитанция</a:t>
            </a:r>
            <a:r>
              <a:rPr spc="-30" dirty="0"/>
              <a:t> </a:t>
            </a:r>
            <a:r>
              <a:rPr spc="-5" dirty="0"/>
              <a:t>на</a:t>
            </a:r>
            <a:r>
              <a:rPr spc="-25" dirty="0"/>
              <a:t> </a:t>
            </a:r>
            <a:r>
              <a:rPr spc="-5" dirty="0"/>
              <a:t>уведомление</a:t>
            </a:r>
          </a:p>
          <a:p>
            <a:pPr marL="372745" indent="-360045">
              <a:lnSpc>
                <a:spcPct val="100000"/>
              </a:lnSpc>
              <a:spcBef>
                <a:spcPts val="1055"/>
              </a:spcBef>
              <a:buAutoNum type="arabicPeriod" startAt="3"/>
              <a:tabLst>
                <a:tab pos="372110" algn="l"/>
                <a:tab pos="372745" algn="l"/>
              </a:tabLst>
            </a:pPr>
            <a:r>
              <a:rPr spc="-5" dirty="0"/>
              <a:t>Введен</a:t>
            </a:r>
            <a:r>
              <a:rPr spc="-15" dirty="0"/>
              <a:t> </a:t>
            </a:r>
            <a:r>
              <a:rPr spc="-5" dirty="0"/>
              <a:t>суточный</a:t>
            </a:r>
            <a:r>
              <a:rPr spc="-10" dirty="0"/>
              <a:t> </a:t>
            </a:r>
            <a:r>
              <a:rPr spc="-15" dirty="0"/>
              <a:t>отчет </a:t>
            </a:r>
            <a:r>
              <a:rPr spc="5" dirty="0"/>
              <a:t>для</a:t>
            </a:r>
            <a:r>
              <a:rPr spc="-20" dirty="0"/>
              <a:t> </a:t>
            </a:r>
            <a:r>
              <a:rPr spc="-5" dirty="0"/>
              <a:t>ОФД</a:t>
            </a:r>
          </a:p>
          <a:p>
            <a:pPr marL="372745" marR="5080" indent="-360045">
              <a:lnSpc>
                <a:spcPct val="102200"/>
              </a:lnSpc>
              <a:spcBef>
                <a:spcPts val="890"/>
              </a:spcBef>
              <a:buAutoNum type="arabicPeriod" startAt="3"/>
              <a:tabLst>
                <a:tab pos="372110" algn="l"/>
                <a:tab pos="372745" algn="l"/>
              </a:tabLst>
            </a:pPr>
            <a:r>
              <a:rPr spc="-20" dirty="0"/>
              <a:t>Роль </a:t>
            </a:r>
            <a:r>
              <a:rPr dirty="0"/>
              <a:t>ОФД – </a:t>
            </a:r>
            <a:r>
              <a:rPr spc="-10" dirty="0"/>
              <a:t>сохранена, </a:t>
            </a:r>
            <a:r>
              <a:rPr spc="-5" dirty="0"/>
              <a:t>но </a:t>
            </a:r>
            <a:r>
              <a:rPr dirty="0"/>
              <a:t>ОФД </a:t>
            </a:r>
            <a:r>
              <a:rPr spc="-5" dirty="0"/>
              <a:t>используется </a:t>
            </a:r>
            <a:r>
              <a:rPr dirty="0"/>
              <a:t>как </a:t>
            </a:r>
            <a:r>
              <a:rPr spc="-15" dirty="0"/>
              <a:t>транспорт, </a:t>
            </a:r>
            <a:r>
              <a:rPr spc="-5" dirty="0"/>
              <a:t>без </a:t>
            </a:r>
            <a:r>
              <a:rPr dirty="0"/>
              <a:t> </a:t>
            </a:r>
            <a:r>
              <a:rPr spc="-5" dirty="0"/>
              <a:t>расшифровки трафика</a:t>
            </a:r>
            <a:r>
              <a:rPr spc="-10" dirty="0"/>
              <a:t> </a:t>
            </a:r>
            <a:r>
              <a:rPr spc="-5" dirty="0"/>
              <a:t>по</a:t>
            </a:r>
            <a:r>
              <a:rPr spc="-10" dirty="0"/>
              <a:t> </a:t>
            </a:r>
            <a:r>
              <a:rPr spc="-5" dirty="0"/>
              <a:t>выше</a:t>
            </a:r>
            <a:r>
              <a:rPr spc="-10" dirty="0"/>
              <a:t> </a:t>
            </a:r>
            <a:r>
              <a:rPr spc="-5" dirty="0"/>
              <a:t>указанным</a:t>
            </a:r>
            <a:r>
              <a:rPr spc="-10" dirty="0"/>
              <a:t> </a:t>
            </a:r>
            <a:r>
              <a:rPr dirty="0"/>
              <a:t>фискальным</a:t>
            </a:r>
            <a:r>
              <a:rPr spc="-10" dirty="0"/>
              <a:t> </a:t>
            </a:r>
            <a:r>
              <a:rPr spc="-5" dirty="0"/>
              <a:t>документам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xUk78kSNOWsET65AJ9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ZyowSR_GPf7M1biQk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hisiDvSRix9UgXvAx2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563C1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</TotalTime>
  <Words>1420</Words>
  <Application>Microsoft Office PowerPoint</Application>
  <PresentationFormat>Широкоэкранный</PresentationFormat>
  <Paragraphs>225</Paragraphs>
  <Slides>18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4" baseType="lpstr">
      <vt:lpstr>Arial MT</vt:lpstr>
      <vt:lpstr>Calibri</vt:lpstr>
      <vt:lpstr>PT Sans Caption</vt:lpstr>
      <vt:lpstr>Segoe UI</vt:lpstr>
      <vt:lpstr>Office Theme</vt:lpstr>
      <vt:lpstr>think-cell Slide</vt:lpstr>
      <vt:lpstr>Подготовка розницы к выбытию маркированной  продукции</vt:lpstr>
      <vt:lpstr>Презентация PowerPoint</vt:lpstr>
      <vt:lpstr>Презентация PowerPoint</vt:lpstr>
      <vt:lpstr>Нарушения правил маркировки молочной продукции</vt:lpstr>
      <vt:lpstr>Этапы запуска обязательной маркировки молочной продукции</vt:lpstr>
      <vt:lpstr>Презентация PowerPoint</vt:lpstr>
      <vt:lpstr>Что делать новой розничной точке</vt:lpstr>
      <vt:lpstr>Если уже продаете маркированную продукцию</vt:lpstr>
      <vt:lpstr>Обновление кассового ПО (1/2)</vt:lpstr>
      <vt:lpstr>Обновление кассового ПО (2/2)</vt:lpstr>
      <vt:lpstr>Запрос о коде маркировки. Ответ на запрос.</vt:lpstr>
      <vt:lpstr>Проверка кода маркировки</vt:lpstr>
      <vt:lpstr>Что получит «покупатель»  от внедрения ФФД 1.2</vt:lpstr>
      <vt:lpstr>Уведомление о реализации. Квитанция на уведомление.</vt:lpstr>
      <vt:lpstr>Честный ЗНАК.Бизнес</vt:lpstr>
      <vt:lpstr>Презентация PowerPoint</vt:lpstr>
      <vt:lpstr>Презентация PowerPoint</vt:lpstr>
      <vt:lpstr>СПАСИБО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одготовка розницы к выбытию маркированной  продукции</dc:title>
  <dc:creator>Михайленко Олег</dc:creator>
  <cp:lastModifiedBy>Михайленко Олег</cp:lastModifiedBy>
  <cp:revision>2</cp:revision>
  <dcterms:created xsi:type="dcterms:W3CDTF">2021-11-12T07:07:44Z</dcterms:created>
  <dcterms:modified xsi:type="dcterms:W3CDTF">2021-11-15T02:16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11-11T00:00:00Z</vt:filetime>
  </property>
  <property fmtid="{D5CDD505-2E9C-101B-9397-08002B2CF9AE}" pid="3" name="LastSaved">
    <vt:filetime>2021-11-12T00:00:00Z</vt:filetime>
  </property>
</Properties>
</file>